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4"/>
  </p:sldMasterIdLst>
  <p:notesMasterIdLst>
    <p:notesMasterId r:id="rId21"/>
  </p:notesMasterIdLst>
  <p:handoutMasterIdLst>
    <p:handoutMasterId r:id="rId22"/>
  </p:handoutMasterIdLst>
  <p:sldIdLst>
    <p:sldId id="1257" r:id="rId5"/>
    <p:sldId id="1259" r:id="rId6"/>
    <p:sldId id="1245" r:id="rId7"/>
    <p:sldId id="1260" r:id="rId8"/>
    <p:sldId id="1261" r:id="rId9"/>
    <p:sldId id="1262" r:id="rId10"/>
    <p:sldId id="1263" r:id="rId11"/>
    <p:sldId id="1237" r:id="rId12"/>
    <p:sldId id="1264" r:id="rId13"/>
    <p:sldId id="1265" r:id="rId14"/>
    <p:sldId id="1266" r:id="rId15"/>
    <p:sldId id="1268" r:id="rId16"/>
    <p:sldId id="1267" r:id="rId17"/>
    <p:sldId id="1246" r:id="rId18"/>
    <p:sldId id="1258" r:id="rId19"/>
    <p:sldId id="1269" r:id="rId20"/>
  </p:sldIdLst>
  <p:sldSz cx="9144000" cy="6858000" type="screen4x3"/>
  <p:notesSz cx="7315200" cy="96012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7" orient="horz" pos="288" userDrawn="1">
          <p15:clr>
            <a:srgbClr val="A4A3A4"/>
          </p15:clr>
        </p15:guide>
        <p15:guide id="10" pos="3624" userDrawn="1">
          <p15:clr>
            <a:srgbClr val="A4A3A4"/>
          </p15:clr>
        </p15:guide>
        <p15:guide id="22" orient="horz" pos="4080" userDrawn="1">
          <p15:clr>
            <a:srgbClr val="A4A3A4"/>
          </p15:clr>
        </p15:guide>
        <p15:guide id="23" orient="horz" pos="744" userDrawn="1">
          <p15:clr>
            <a:srgbClr val="A4A3A4"/>
          </p15:clr>
        </p15:guide>
        <p15:guide id="24" pos="2856" userDrawn="1">
          <p15:clr>
            <a:srgbClr val="A4A3A4"/>
          </p15:clr>
        </p15:guide>
        <p15:guide id="25" pos="2016" userDrawn="1">
          <p15:clr>
            <a:srgbClr val="A4A3A4"/>
          </p15:clr>
        </p15:guide>
        <p15:guide id="28" orient="horz" pos="600" userDrawn="1">
          <p15:clr>
            <a:srgbClr val="A4A3A4"/>
          </p15:clr>
        </p15:guide>
        <p15:guide id="29" pos="21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onnie Hamilton" initials="BH" lastIdx="1" clrIdx="0">
    <p:extLst>
      <p:ext uri="{19B8F6BF-5375-455C-9EA6-DF929625EA0E}">
        <p15:presenceInfo xmlns:p15="http://schemas.microsoft.com/office/powerpoint/2012/main" userId="S-1-5-21-689125637-3960344643-4143508755-62924" providerId="AD"/>
      </p:ext>
    </p:extLst>
  </p:cmAuthor>
  <p:cmAuthor id="2" name="Edward A. Cunningham" initials="EAC" lastIdx="2" clrIdx="1">
    <p:extLst>
      <p:ext uri="{19B8F6BF-5375-455C-9EA6-DF929625EA0E}">
        <p15:presenceInfo xmlns:p15="http://schemas.microsoft.com/office/powerpoint/2012/main" userId="S-1-5-21-689125637-3960344643-4143508755-3365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498E"/>
    <a:srgbClr val="000000"/>
    <a:srgbClr val="BFBFBF"/>
    <a:srgbClr val="F9C940"/>
    <a:srgbClr val="ECECEC"/>
    <a:srgbClr val="B9B9B7"/>
    <a:srgbClr val="404040"/>
    <a:srgbClr val="7F7F7F"/>
    <a:srgbClr val="5FA4CE"/>
    <a:srgbClr val="70707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7C7E874-EFB9-42FD-BDED-051A9CA8E650}" v="555" dt="2022-06-02T17:57:49.60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551" autoAdjust="0"/>
    <p:restoredTop sz="92770" autoAdjust="0"/>
  </p:normalViewPr>
  <p:slideViewPr>
    <p:cSldViewPr snapToGrid="0" snapToObjects="1" showGuides="1">
      <p:cViewPr varScale="1">
        <p:scale>
          <a:sx n="84" d="100"/>
          <a:sy n="84" d="100"/>
        </p:scale>
        <p:origin x="366" y="65"/>
      </p:cViewPr>
      <p:guideLst>
        <p:guide orient="horz" pos="288"/>
        <p:guide pos="3624"/>
        <p:guide orient="horz" pos="4080"/>
        <p:guide orient="horz" pos="744"/>
        <p:guide pos="2856"/>
        <p:guide pos="2016"/>
        <p:guide orient="horz" pos="600"/>
        <p:guide pos="216"/>
      </p:guideLst>
    </p:cSldViewPr>
  </p:slideViewPr>
  <p:outlineViewPr>
    <p:cViewPr>
      <p:scale>
        <a:sx n="33" d="100"/>
        <a:sy n="33" d="100"/>
      </p:scale>
      <p:origin x="0" y="-588"/>
    </p:cViewPr>
  </p:outlineViewPr>
  <p:notesTextViewPr>
    <p:cViewPr>
      <p:scale>
        <a:sx n="75" d="100"/>
        <a:sy n="75" d="100"/>
      </p:scale>
      <p:origin x="0" y="0"/>
    </p:cViewPr>
  </p:notesTextViewPr>
  <p:sorterViewPr>
    <p:cViewPr varScale="1">
      <p:scale>
        <a:sx n="1" d="1"/>
        <a:sy n="1" d="1"/>
      </p:scale>
      <p:origin x="0" y="0"/>
    </p:cViewPr>
  </p:sorterViewPr>
  <p:notesViewPr>
    <p:cSldViewPr snapToGrid="0" snapToObjects="1">
      <p:cViewPr varScale="1">
        <p:scale>
          <a:sx n="51" d="100"/>
          <a:sy n="51" d="100"/>
        </p:scale>
        <p:origin x="2624" y="40"/>
      </p:cViewPr>
      <p:guideLst/>
    </p:cSldViewPr>
  </p:notesViewPr>
  <p:gridSpacing cx="54863" cy="54863"/>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ristina Keller" userId="a2867ebb-0012-4eee-aea6-0c6cc9d8a658" providerId="ADAL" clId="{27C7E874-EFB9-42FD-BDED-051A9CA8E650}"/>
    <pc:docChg chg="undo custSel addSld delSld modSld">
      <pc:chgData name="Kristina Keller" userId="a2867ebb-0012-4eee-aea6-0c6cc9d8a658" providerId="ADAL" clId="{27C7E874-EFB9-42FD-BDED-051A9CA8E650}" dt="2022-06-06T16:39:43.721" v="7771" actId="20577"/>
      <pc:docMkLst>
        <pc:docMk/>
      </pc:docMkLst>
      <pc:sldChg chg="del">
        <pc:chgData name="Kristina Keller" userId="a2867ebb-0012-4eee-aea6-0c6cc9d8a658" providerId="ADAL" clId="{27C7E874-EFB9-42FD-BDED-051A9CA8E650}" dt="2022-05-31T20:01:40.691" v="82" actId="47"/>
        <pc:sldMkLst>
          <pc:docMk/>
          <pc:sldMk cId="392299221" sldId="1179"/>
        </pc:sldMkLst>
      </pc:sldChg>
      <pc:sldChg chg="del">
        <pc:chgData name="Kristina Keller" userId="a2867ebb-0012-4eee-aea6-0c6cc9d8a658" providerId="ADAL" clId="{27C7E874-EFB9-42FD-BDED-051A9CA8E650}" dt="2022-05-31T20:02:14.281" v="107" actId="47"/>
        <pc:sldMkLst>
          <pc:docMk/>
          <pc:sldMk cId="3311213761" sldId="1213"/>
        </pc:sldMkLst>
      </pc:sldChg>
      <pc:sldChg chg="del">
        <pc:chgData name="Kristina Keller" userId="a2867ebb-0012-4eee-aea6-0c6cc9d8a658" providerId="ADAL" clId="{27C7E874-EFB9-42FD-BDED-051A9CA8E650}" dt="2022-05-31T20:02:22.955" v="108" actId="47"/>
        <pc:sldMkLst>
          <pc:docMk/>
          <pc:sldMk cId="782157854" sldId="1231"/>
        </pc:sldMkLst>
      </pc:sldChg>
      <pc:sldChg chg="del">
        <pc:chgData name="Kristina Keller" userId="a2867ebb-0012-4eee-aea6-0c6cc9d8a658" providerId="ADAL" clId="{27C7E874-EFB9-42FD-BDED-051A9CA8E650}" dt="2022-05-31T20:02:24.740" v="110" actId="47"/>
        <pc:sldMkLst>
          <pc:docMk/>
          <pc:sldMk cId="4270377185" sldId="1234"/>
        </pc:sldMkLst>
      </pc:sldChg>
      <pc:sldChg chg="addSp delSp modSp mod">
        <pc:chgData name="Kristina Keller" userId="a2867ebb-0012-4eee-aea6-0c6cc9d8a658" providerId="ADAL" clId="{27C7E874-EFB9-42FD-BDED-051A9CA8E650}" dt="2022-05-31T22:32:56.664" v="5730"/>
        <pc:sldMkLst>
          <pc:docMk/>
          <pc:sldMk cId="2704113992" sldId="1237"/>
        </pc:sldMkLst>
        <pc:spChg chg="mod">
          <ac:chgData name="Kristina Keller" userId="a2867ebb-0012-4eee-aea6-0c6cc9d8a658" providerId="ADAL" clId="{27C7E874-EFB9-42FD-BDED-051A9CA8E650}" dt="2022-05-31T20:17:46.527" v="2505" actId="20577"/>
          <ac:spMkLst>
            <pc:docMk/>
            <pc:sldMk cId="2704113992" sldId="1237"/>
            <ac:spMk id="2" creationId="{00000000-0000-0000-0000-000000000000}"/>
          </ac:spMkLst>
        </pc:spChg>
        <pc:spChg chg="add del mod modVis">
          <ac:chgData name="Kristina Keller" userId="a2867ebb-0012-4eee-aea6-0c6cc9d8a658" providerId="ADAL" clId="{27C7E874-EFB9-42FD-BDED-051A9CA8E650}" dt="2022-05-31T20:15:16.784" v="2238"/>
          <ac:spMkLst>
            <pc:docMk/>
            <pc:sldMk cId="2704113992" sldId="1237"/>
            <ac:spMk id="3" creationId="{910A71E2-60B2-89D7-2C71-420EE84DE4DA}"/>
          </ac:spMkLst>
        </pc:spChg>
        <pc:spChg chg="mod">
          <ac:chgData name="Kristina Keller" userId="a2867ebb-0012-4eee-aea6-0c6cc9d8a658" providerId="ADAL" clId="{27C7E874-EFB9-42FD-BDED-051A9CA8E650}" dt="2022-05-31T20:15:17.568" v="2242" actId="948"/>
          <ac:spMkLst>
            <pc:docMk/>
            <pc:sldMk cId="2704113992" sldId="1237"/>
            <ac:spMk id="4" creationId="{00000000-0000-0000-0000-000000000000}"/>
          </ac:spMkLst>
        </pc:spChg>
        <pc:spChg chg="add del mod modVis">
          <ac:chgData name="Kristina Keller" userId="a2867ebb-0012-4eee-aea6-0c6cc9d8a658" providerId="ADAL" clId="{27C7E874-EFB9-42FD-BDED-051A9CA8E650}" dt="2022-05-31T20:15:17.598" v="2281"/>
          <ac:spMkLst>
            <pc:docMk/>
            <pc:sldMk cId="2704113992" sldId="1237"/>
            <ac:spMk id="5" creationId="{4E536927-49DB-2F3C-CB7A-298E8AC7CF7D}"/>
          </ac:spMkLst>
        </pc:spChg>
        <pc:graphicFrameChg chg="mod">
          <ac:chgData name="Kristina Keller" userId="a2867ebb-0012-4eee-aea6-0c6cc9d8a658" providerId="ADAL" clId="{27C7E874-EFB9-42FD-BDED-051A9CA8E650}" dt="2022-05-31T20:15:17.601" v="2283"/>
          <ac:graphicFrameMkLst>
            <pc:docMk/>
            <pc:sldMk cId="2704113992" sldId="1237"/>
            <ac:graphicFrameMk id="6" creationId="{00000000-0000-0000-0000-000000000000}"/>
          </ac:graphicFrameMkLst>
        </pc:graphicFrameChg>
        <pc:picChg chg="add mod">
          <ac:chgData name="Kristina Keller" userId="a2867ebb-0012-4eee-aea6-0c6cc9d8a658" providerId="ADAL" clId="{27C7E874-EFB9-42FD-BDED-051A9CA8E650}" dt="2022-05-31T22:32:56.664" v="5730"/>
          <ac:picMkLst>
            <pc:docMk/>
            <pc:sldMk cId="2704113992" sldId="1237"/>
            <ac:picMk id="7" creationId="{E4019C47-17E2-10F2-DCF5-ACDAEDAF9CA7}"/>
          </ac:picMkLst>
        </pc:picChg>
      </pc:sldChg>
      <pc:sldChg chg="del">
        <pc:chgData name="Kristina Keller" userId="a2867ebb-0012-4eee-aea6-0c6cc9d8a658" providerId="ADAL" clId="{27C7E874-EFB9-42FD-BDED-051A9CA8E650}" dt="2022-05-31T20:13:20.021" v="2054" actId="47"/>
        <pc:sldMkLst>
          <pc:docMk/>
          <pc:sldMk cId="447877904" sldId="1239"/>
        </pc:sldMkLst>
      </pc:sldChg>
      <pc:sldChg chg="del">
        <pc:chgData name="Kristina Keller" userId="a2867ebb-0012-4eee-aea6-0c6cc9d8a658" providerId="ADAL" clId="{27C7E874-EFB9-42FD-BDED-051A9CA8E650}" dt="2022-05-31T20:14:50.247" v="2121" actId="47"/>
        <pc:sldMkLst>
          <pc:docMk/>
          <pc:sldMk cId="4052343112" sldId="1241"/>
        </pc:sldMkLst>
      </pc:sldChg>
      <pc:sldChg chg="addSp delSp modSp del mod">
        <pc:chgData name="Kristina Keller" userId="a2867ebb-0012-4eee-aea6-0c6cc9d8a658" providerId="ADAL" clId="{27C7E874-EFB9-42FD-BDED-051A9CA8E650}" dt="2022-05-31T22:27:46.694" v="5715" actId="47"/>
        <pc:sldMkLst>
          <pc:docMk/>
          <pc:sldMk cId="2447598516" sldId="1242"/>
        </pc:sldMkLst>
        <pc:spChg chg="add del mod modVis">
          <ac:chgData name="Kristina Keller" userId="a2867ebb-0012-4eee-aea6-0c6cc9d8a658" providerId="ADAL" clId="{27C7E874-EFB9-42FD-BDED-051A9CA8E650}" dt="2022-05-31T20:20:06.083" v="2665"/>
          <ac:spMkLst>
            <pc:docMk/>
            <pc:sldMk cId="2447598516" sldId="1242"/>
            <ac:spMk id="2" creationId="{28469E8B-F29C-1D46-AD51-67FC21B2B027}"/>
          </ac:spMkLst>
        </pc:spChg>
        <pc:spChg chg="add del mod modVis">
          <ac:chgData name="Kristina Keller" userId="a2867ebb-0012-4eee-aea6-0c6cc9d8a658" providerId="ADAL" clId="{27C7E874-EFB9-42FD-BDED-051A9CA8E650}" dt="2022-05-31T20:20:07.390" v="2710"/>
          <ac:spMkLst>
            <pc:docMk/>
            <pc:sldMk cId="2447598516" sldId="1242"/>
            <ac:spMk id="3" creationId="{53BA8986-3041-C9E0-7818-8AF5CD66E435}"/>
          </ac:spMkLst>
        </pc:spChg>
        <pc:spChg chg="mod">
          <ac:chgData name="Kristina Keller" userId="a2867ebb-0012-4eee-aea6-0c6cc9d8a658" providerId="ADAL" clId="{27C7E874-EFB9-42FD-BDED-051A9CA8E650}" dt="2022-05-31T20:20:14.006" v="2801" actId="948"/>
          <ac:spMkLst>
            <pc:docMk/>
            <pc:sldMk cId="2447598516" sldId="1242"/>
            <ac:spMk id="4" creationId="{00000000-0000-0000-0000-000000000000}"/>
          </ac:spMkLst>
        </pc:spChg>
        <pc:spChg chg="add del mod modVis">
          <ac:chgData name="Kristina Keller" userId="a2867ebb-0012-4eee-aea6-0c6cc9d8a658" providerId="ADAL" clId="{27C7E874-EFB9-42FD-BDED-051A9CA8E650}" dt="2022-05-31T20:20:08.678" v="2753"/>
          <ac:spMkLst>
            <pc:docMk/>
            <pc:sldMk cId="2447598516" sldId="1242"/>
            <ac:spMk id="5" creationId="{36C0A79B-63A6-1933-EF08-2CA2011C6CFE}"/>
          </ac:spMkLst>
        </pc:spChg>
        <pc:spChg chg="add del mod modVis">
          <ac:chgData name="Kristina Keller" userId="a2867ebb-0012-4eee-aea6-0c6cc9d8a658" providerId="ADAL" clId="{27C7E874-EFB9-42FD-BDED-051A9CA8E650}" dt="2022-05-31T20:20:13.478" v="2797"/>
          <ac:spMkLst>
            <pc:docMk/>
            <pc:sldMk cId="2447598516" sldId="1242"/>
            <ac:spMk id="6" creationId="{CB619888-FE70-C3BA-2029-A31A2955F17F}"/>
          </ac:spMkLst>
        </pc:spChg>
        <pc:spChg chg="add del mod modVis">
          <ac:chgData name="Kristina Keller" userId="a2867ebb-0012-4eee-aea6-0c6cc9d8a658" providerId="ADAL" clId="{27C7E874-EFB9-42FD-BDED-051A9CA8E650}" dt="2022-05-31T20:20:14.044" v="2840"/>
          <ac:spMkLst>
            <pc:docMk/>
            <pc:sldMk cId="2447598516" sldId="1242"/>
            <ac:spMk id="7" creationId="{B3E7C9AA-B24F-91E9-D6BB-31A542C3323A}"/>
          </ac:spMkLst>
        </pc:spChg>
        <pc:graphicFrameChg chg="mod">
          <ac:chgData name="Kristina Keller" userId="a2867ebb-0012-4eee-aea6-0c6cc9d8a658" providerId="ADAL" clId="{27C7E874-EFB9-42FD-BDED-051A9CA8E650}" dt="2022-05-31T20:20:14.048" v="2842"/>
          <ac:graphicFrameMkLst>
            <pc:docMk/>
            <pc:sldMk cId="2447598516" sldId="1242"/>
            <ac:graphicFrameMk id="9" creationId="{00000000-0000-0000-0000-000000000000}"/>
          </ac:graphicFrameMkLst>
        </pc:graphicFrameChg>
        <pc:graphicFrameChg chg="mod">
          <ac:chgData name="Kristina Keller" userId="a2867ebb-0012-4eee-aea6-0c6cc9d8a658" providerId="ADAL" clId="{27C7E874-EFB9-42FD-BDED-051A9CA8E650}" dt="2022-05-31T20:20:27.134" v="2862" actId="20577"/>
          <ac:graphicFrameMkLst>
            <pc:docMk/>
            <pc:sldMk cId="2447598516" sldId="1242"/>
            <ac:graphicFrameMk id="15" creationId="{00000000-0000-0000-0000-000000000000}"/>
          </ac:graphicFrameMkLst>
        </pc:graphicFrameChg>
        <pc:graphicFrameChg chg="mod">
          <ac:chgData name="Kristina Keller" userId="a2867ebb-0012-4eee-aea6-0c6cc9d8a658" providerId="ADAL" clId="{27C7E874-EFB9-42FD-BDED-051A9CA8E650}" dt="2022-05-31T20:20:35.995" v="2875" actId="20577"/>
          <ac:graphicFrameMkLst>
            <pc:docMk/>
            <pc:sldMk cId="2447598516" sldId="1242"/>
            <ac:graphicFrameMk id="16" creationId="{00000000-0000-0000-0000-000000000000}"/>
          </ac:graphicFrameMkLst>
        </pc:graphicFrameChg>
      </pc:sldChg>
      <pc:sldChg chg="del">
        <pc:chgData name="Kristina Keller" userId="a2867ebb-0012-4eee-aea6-0c6cc9d8a658" providerId="ADAL" clId="{27C7E874-EFB9-42FD-BDED-051A9CA8E650}" dt="2022-05-31T20:14:49.633" v="2120" actId="47"/>
        <pc:sldMkLst>
          <pc:docMk/>
          <pc:sldMk cId="4251978957" sldId="1243"/>
        </pc:sldMkLst>
      </pc:sldChg>
      <pc:sldChg chg="addSp delSp modSp mod">
        <pc:chgData name="Kristina Keller" userId="a2867ebb-0012-4eee-aea6-0c6cc9d8a658" providerId="ADAL" clId="{27C7E874-EFB9-42FD-BDED-051A9CA8E650}" dt="2022-06-01T15:00:03.595" v="5969" actId="20577"/>
        <pc:sldMkLst>
          <pc:docMk/>
          <pc:sldMk cId="1013802255" sldId="1245"/>
        </pc:sldMkLst>
        <pc:spChg chg="add del mod">
          <ac:chgData name="Kristina Keller" userId="a2867ebb-0012-4eee-aea6-0c6cc9d8a658" providerId="ADAL" clId="{27C7E874-EFB9-42FD-BDED-051A9CA8E650}" dt="2022-05-31T20:07:44.197" v="528" actId="478"/>
          <ac:spMkLst>
            <pc:docMk/>
            <pc:sldMk cId="1013802255" sldId="1245"/>
            <ac:spMk id="3" creationId="{722F3E3A-96E6-EF7C-CEA0-7136BB4E9986}"/>
          </ac:spMkLst>
        </pc:spChg>
        <pc:spChg chg="mod">
          <ac:chgData name="Kristina Keller" userId="a2867ebb-0012-4eee-aea6-0c6cc9d8a658" providerId="ADAL" clId="{27C7E874-EFB9-42FD-BDED-051A9CA8E650}" dt="2022-06-01T15:00:03.595" v="5969" actId="20577"/>
          <ac:spMkLst>
            <pc:docMk/>
            <pc:sldMk cId="1013802255" sldId="1245"/>
            <ac:spMk id="5" creationId="{00000000-0000-0000-0000-000000000000}"/>
          </ac:spMkLst>
        </pc:spChg>
        <pc:spChg chg="del">
          <ac:chgData name="Kristina Keller" userId="a2867ebb-0012-4eee-aea6-0c6cc9d8a658" providerId="ADAL" clId="{27C7E874-EFB9-42FD-BDED-051A9CA8E650}" dt="2022-05-31T20:07:41.701" v="527" actId="478"/>
          <ac:spMkLst>
            <pc:docMk/>
            <pc:sldMk cId="1013802255" sldId="1245"/>
            <ac:spMk id="6" creationId="{00000000-0000-0000-0000-000000000000}"/>
          </ac:spMkLst>
        </pc:spChg>
      </pc:sldChg>
      <pc:sldChg chg="addSp delSp modSp add del mod">
        <pc:chgData name="Kristina Keller" userId="a2867ebb-0012-4eee-aea6-0c6cc9d8a658" providerId="ADAL" clId="{27C7E874-EFB9-42FD-BDED-051A9CA8E650}" dt="2022-05-31T22:26:13.375" v="5692" actId="20577"/>
        <pc:sldMkLst>
          <pc:docMk/>
          <pc:sldMk cId="105024637" sldId="1246"/>
        </pc:sldMkLst>
        <pc:spChg chg="add del mod">
          <ac:chgData name="Kristina Keller" userId="a2867ebb-0012-4eee-aea6-0c6cc9d8a658" providerId="ADAL" clId="{27C7E874-EFB9-42FD-BDED-051A9CA8E650}" dt="2022-05-31T20:02:51.649" v="134" actId="478"/>
          <ac:spMkLst>
            <pc:docMk/>
            <pc:sldMk cId="105024637" sldId="1246"/>
            <ac:spMk id="3" creationId="{2CC04CA0-C892-C9EC-29EB-50950A7B1E44}"/>
          </ac:spMkLst>
        </pc:spChg>
        <pc:spChg chg="mod">
          <ac:chgData name="Kristina Keller" userId="a2867ebb-0012-4eee-aea6-0c6cc9d8a658" providerId="ADAL" clId="{27C7E874-EFB9-42FD-BDED-051A9CA8E650}" dt="2022-05-31T22:26:13.375" v="5692" actId="20577"/>
          <ac:spMkLst>
            <pc:docMk/>
            <pc:sldMk cId="105024637" sldId="1246"/>
            <ac:spMk id="5" creationId="{00000000-0000-0000-0000-000000000000}"/>
          </ac:spMkLst>
        </pc:spChg>
        <pc:spChg chg="del">
          <ac:chgData name="Kristina Keller" userId="a2867ebb-0012-4eee-aea6-0c6cc9d8a658" providerId="ADAL" clId="{27C7E874-EFB9-42FD-BDED-051A9CA8E650}" dt="2022-05-31T20:02:49.034" v="133" actId="478"/>
          <ac:spMkLst>
            <pc:docMk/>
            <pc:sldMk cId="105024637" sldId="1246"/>
            <ac:spMk id="6" creationId="{00000000-0000-0000-0000-000000000000}"/>
          </ac:spMkLst>
        </pc:spChg>
        <pc:graphicFrameChg chg="mod">
          <ac:chgData name="Kristina Keller" userId="a2867ebb-0012-4eee-aea6-0c6cc9d8a658" providerId="ADAL" clId="{27C7E874-EFB9-42FD-BDED-051A9CA8E650}" dt="2022-05-31T20:02:31.166" v="122"/>
          <ac:graphicFrameMkLst>
            <pc:docMk/>
            <pc:sldMk cId="105024637" sldId="1246"/>
            <ac:graphicFrameMk id="7" creationId="{00000000-0000-0000-0000-000000000000}"/>
          </ac:graphicFrameMkLst>
        </pc:graphicFrameChg>
      </pc:sldChg>
      <pc:sldChg chg="del">
        <pc:chgData name="Kristina Keller" userId="a2867ebb-0012-4eee-aea6-0c6cc9d8a658" providerId="ADAL" clId="{27C7E874-EFB9-42FD-BDED-051A9CA8E650}" dt="2022-05-31T20:02:25.610" v="111" actId="47"/>
        <pc:sldMkLst>
          <pc:docMk/>
          <pc:sldMk cId="3127483991" sldId="1247"/>
        </pc:sldMkLst>
      </pc:sldChg>
      <pc:sldChg chg="del">
        <pc:chgData name="Kristina Keller" userId="a2867ebb-0012-4eee-aea6-0c6cc9d8a658" providerId="ADAL" clId="{27C7E874-EFB9-42FD-BDED-051A9CA8E650}" dt="2022-05-31T20:02:26.224" v="112" actId="47"/>
        <pc:sldMkLst>
          <pc:docMk/>
          <pc:sldMk cId="69456962" sldId="1248"/>
        </pc:sldMkLst>
      </pc:sldChg>
      <pc:sldChg chg="del">
        <pc:chgData name="Kristina Keller" userId="a2867ebb-0012-4eee-aea6-0c6cc9d8a658" providerId="ADAL" clId="{27C7E874-EFB9-42FD-BDED-051A9CA8E650}" dt="2022-05-31T20:02:26.775" v="113" actId="47"/>
        <pc:sldMkLst>
          <pc:docMk/>
          <pc:sldMk cId="3053894713" sldId="1249"/>
        </pc:sldMkLst>
      </pc:sldChg>
      <pc:sldChg chg="del">
        <pc:chgData name="Kristina Keller" userId="a2867ebb-0012-4eee-aea6-0c6cc9d8a658" providerId="ADAL" clId="{27C7E874-EFB9-42FD-BDED-051A9CA8E650}" dt="2022-05-31T20:02:27.713" v="114" actId="47"/>
        <pc:sldMkLst>
          <pc:docMk/>
          <pc:sldMk cId="2363006671" sldId="1250"/>
        </pc:sldMkLst>
      </pc:sldChg>
      <pc:sldChg chg="del">
        <pc:chgData name="Kristina Keller" userId="a2867ebb-0012-4eee-aea6-0c6cc9d8a658" providerId="ADAL" clId="{27C7E874-EFB9-42FD-BDED-051A9CA8E650}" dt="2022-05-31T20:02:28.476" v="115" actId="47"/>
        <pc:sldMkLst>
          <pc:docMk/>
          <pc:sldMk cId="2481501104" sldId="1251"/>
        </pc:sldMkLst>
      </pc:sldChg>
      <pc:sldChg chg="del">
        <pc:chgData name="Kristina Keller" userId="a2867ebb-0012-4eee-aea6-0c6cc9d8a658" providerId="ADAL" clId="{27C7E874-EFB9-42FD-BDED-051A9CA8E650}" dt="2022-05-31T20:02:29.010" v="116" actId="47"/>
        <pc:sldMkLst>
          <pc:docMk/>
          <pc:sldMk cId="1647684731" sldId="1252"/>
        </pc:sldMkLst>
      </pc:sldChg>
      <pc:sldChg chg="del">
        <pc:chgData name="Kristina Keller" userId="a2867ebb-0012-4eee-aea6-0c6cc9d8a658" providerId="ADAL" clId="{27C7E874-EFB9-42FD-BDED-051A9CA8E650}" dt="2022-05-31T20:02:29.215" v="117" actId="47"/>
        <pc:sldMkLst>
          <pc:docMk/>
          <pc:sldMk cId="291588846" sldId="1253"/>
        </pc:sldMkLst>
      </pc:sldChg>
      <pc:sldChg chg="del">
        <pc:chgData name="Kristina Keller" userId="a2867ebb-0012-4eee-aea6-0c6cc9d8a658" providerId="ADAL" clId="{27C7E874-EFB9-42FD-BDED-051A9CA8E650}" dt="2022-05-31T20:02:29.422" v="118" actId="47"/>
        <pc:sldMkLst>
          <pc:docMk/>
          <pc:sldMk cId="3298379818" sldId="1254"/>
        </pc:sldMkLst>
      </pc:sldChg>
      <pc:sldChg chg="del">
        <pc:chgData name="Kristina Keller" userId="a2867ebb-0012-4eee-aea6-0c6cc9d8a658" providerId="ADAL" clId="{27C7E874-EFB9-42FD-BDED-051A9CA8E650}" dt="2022-05-31T20:13:18.828" v="2053" actId="47"/>
        <pc:sldMkLst>
          <pc:docMk/>
          <pc:sldMk cId="1302146966" sldId="1255"/>
        </pc:sldMkLst>
      </pc:sldChg>
      <pc:sldChg chg="del">
        <pc:chgData name="Kristina Keller" userId="a2867ebb-0012-4eee-aea6-0c6cc9d8a658" providerId="ADAL" clId="{27C7E874-EFB9-42FD-BDED-051A9CA8E650}" dt="2022-05-31T20:02:24.120" v="109" actId="47"/>
        <pc:sldMkLst>
          <pc:docMk/>
          <pc:sldMk cId="3057036040" sldId="1256"/>
        </pc:sldMkLst>
      </pc:sldChg>
      <pc:sldChg chg="addSp delSp modSp new add mod modClrScheme chgLayout">
        <pc:chgData name="Kristina Keller" userId="a2867ebb-0012-4eee-aea6-0c6cc9d8a658" providerId="ADAL" clId="{27C7E874-EFB9-42FD-BDED-051A9CA8E650}" dt="2022-06-03T15:10:18.527" v="7716" actId="20577"/>
        <pc:sldMkLst>
          <pc:docMk/>
          <pc:sldMk cId="3248939251" sldId="1257"/>
        </pc:sldMkLst>
        <pc:spChg chg="del">
          <ac:chgData name="Kristina Keller" userId="a2867ebb-0012-4eee-aea6-0c6cc9d8a658" providerId="ADAL" clId="{27C7E874-EFB9-42FD-BDED-051A9CA8E650}" dt="2022-05-31T20:00:01.436" v="6"/>
          <ac:spMkLst>
            <pc:docMk/>
            <pc:sldMk cId="3248939251" sldId="1257"/>
            <ac:spMk id="2" creationId="{18012C78-B201-4C2B-78EE-67EF925752DC}"/>
          </ac:spMkLst>
        </pc:spChg>
        <pc:spChg chg="del mod ord">
          <ac:chgData name="Kristina Keller" userId="a2867ebb-0012-4eee-aea6-0c6cc9d8a658" providerId="ADAL" clId="{27C7E874-EFB9-42FD-BDED-051A9CA8E650}" dt="2022-05-31T20:00:01.436" v="6"/>
          <ac:spMkLst>
            <pc:docMk/>
            <pc:sldMk cId="3248939251" sldId="1257"/>
            <ac:spMk id="3" creationId="{7E4E3546-0A97-8AEF-B3BC-3BBBEC8933A4}"/>
          </ac:spMkLst>
        </pc:spChg>
        <pc:spChg chg="add mod ord">
          <ac:chgData name="Kristina Keller" userId="a2867ebb-0012-4eee-aea6-0c6cc9d8a658" providerId="ADAL" clId="{27C7E874-EFB9-42FD-BDED-051A9CA8E650}" dt="2022-06-03T15:10:18.527" v="7716" actId="20577"/>
          <ac:spMkLst>
            <pc:docMk/>
            <pc:sldMk cId="3248939251" sldId="1257"/>
            <ac:spMk id="4" creationId="{925A923C-9E98-8EAC-4478-391E7DDCDEDE}"/>
          </ac:spMkLst>
        </pc:spChg>
        <pc:spChg chg="add del mod ord">
          <ac:chgData name="Kristina Keller" userId="a2867ebb-0012-4eee-aea6-0c6cc9d8a658" providerId="ADAL" clId="{27C7E874-EFB9-42FD-BDED-051A9CA8E650}" dt="2022-05-31T20:01:15.073" v="77" actId="478"/>
          <ac:spMkLst>
            <pc:docMk/>
            <pc:sldMk cId="3248939251" sldId="1257"/>
            <ac:spMk id="5" creationId="{5BEA53AC-E03D-260A-9F9A-6E6C640199A5}"/>
          </ac:spMkLst>
        </pc:spChg>
        <pc:spChg chg="add mod">
          <ac:chgData name="Kristina Keller" userId="a2867ebb-0012-4eee-aea6-0c6cc9d8a658" providerId="ADAL" clId="{27C7E874-EFB9-42FD-BDED-051A9CA8E650}" dt="2022-05-31T20:02:09.738" v="106" actId="1076"/>
          <ac:spMkLst>
            <pc:docMk/>
            <pc:sldMk cId="3248939251" sldId="1257"/>
            <ac:spMk id="9" creationId="{859BA679-6FF5-A79E-645E-4AFB9D265C08}"/>
          </ac:spMkLst>
        </pc:spChg>
        <pc:graphicFrameChg chg="add mod ord modVis replST">
          <ac:chgData name="Kristina Keller" userId="a2867ebb-0012-4eee-aea6-0c6cc9d8a658" providerId="ADAL" clId="{27C7E874-EFB9-42FD-BDED-051A9CA8E650}" dt="2022-05-31T20:00:01.980" v="22"/>
          <ac:graphicFrameMkLst>
            <pc:docMk/>
            <pc:sldMk cId="3248939251" sldId="1257"/>
            <ac:graphicFrameMk id="6" creationId="{BFC10969-A106-A902-BB6E-D3FD6B6A9E90}"/>
          </ac:graphicFrameMkLst>
        </pc:graphicFrameChg>
        <pc:picChg chg="add mod">
          <ac:chgData name="Kristina Keller" userId="a2867ebb-0012-4eee-aea6-0c6cc9d8a658" providerId="ADAL" clId="{27C7E874-EFB9-42FD-BDED-051A9CA8E650}" dt="2022-05-31T20:01:32.855" v="80" actId="1076"/>
          <ac:picMkLst>
            <pc:docMk/>
            <pc:sldMk cId="3248939251" sldId="1257"/>
            <ac:picMk id="8" creationId="{60CADAA5-7818-9171-3B1C-7AD2D85CDB6C}"/>
          </ac:picMkLst>
        </pc:picChg>
      </pc:sldChg>
      <pc:sldChg chg="new add del">
        <pc:chgData name="Kristina Keller" userId="a2867ebb-0012-4eee-aea6-0c6cc9d8a658" providerId="ADAL" clId="{27C7E874-EFB9-42FD-BDED-051A9CA8E650}" dt="2022-05-31T19:59:44.772" v="4" actId="47"/>
        <pc:sldMkLst>
          <pc:docMk/>
          <pc:sldMk cId="730510613" sldId="1258"/>
        </pc:sldMkLst>
      </pc:sldChg>
      <pc:sldChg chg="addSp delSp modSp new add mod modClrScheme chgLayout">
        <pc:chgData name="Kristina Keller" userId="a2867ebb-0012-4eee-aea6-0c6cc9d8a658" providerId="ADAL" clId="{27C7E874-EFB9-42FD-BDED-051A9CA8E650}" dt="2022-06-06T16:39:43.721" v="7771" actId="20577"/>
        <pc:sldMkLst>
          <pc:docMk/>
          <pc:sldMk cId="1905930946" sldId="1258"/>
        </pc:sldMkLst>
        <pc:spChg chg="del mod ord">
          <ac:chgData name="Kristina Keller" userId="a2867ebb-0012-4eee-aea6-0c6cc9d8a658" providerId="ADAL" clId="{27C7E874-EFB9-42FD-BDED-051A9CA8E650}" dt="2022-05-31T20:03:01.771" v="138"/>
          <ac:spMkLst>
            <pc:docMk/>
            <pc:sldMk cId="1905930946" sldId="1258"/>
            <ac:spMk id="2" creationId="{78CD5335-FD08-F022-91E3-F2364CF884C6}"/>
          </ac:spMkLst>
        </pc:spChg>
        <pc:spChg chg="add del mod modVis">
          <ac:chgData name="Kristina Keller" userId="a2867ebb-0012-4eee-aea6-0c6cc9d8a658" providerId="ADAL" clId="{27C7E874-EFB9-42FD-BDED-051A9CA8E650}" dt="2022-06-01T14:59:45.369" v="5956"/>
          <ac:spMkLst>
            <pc:docMk/>
            <pc:sldMk cId="1905930946" sldId="1258"/>
            <ac:spMk id="2" creationId="{8D44EA35-EDF1-A96C-0A61-58B9899DF3EF}"/>
          </ac:spMkLst>
        </pc:spChg>
        <pc:spChg chg="del">
          <ac:chgData name="Kristina Keller" userId="a2867ebb-0012-4eee-aea6-0c6cc9d8a658" providerId="ADAL" clId="{27C7E874-EFB9-42FD-BDED-051A9CA8E650}" dt="2022-05-31T20:03:01.771" v="138"/>
          <ac:spMkLst>
            <pc:docMk/>
            <pc:sldMk cId="1905930946" sldId="1258"/>
            <ac:spMk id="3" creationId="{442981B1-32A9-C6F5-0C29-02EC39B16FE3}"/>
          </ac:spMkLst>
        </pc:spChg>
        <pc:spChg chg="add del mod">
          <ac:chgData name="Kristina Keller" userId="a2867ebb-0012-4eee-aea6-0c6cc9d8a658" providerId="ADAL" clId="{27C7E874-EFB9-42FD-BDED-051A9CA8E650}" dt="2022-05-31T22:30:15.967" v="5716" actId="478"/>
          <ac:spMkLst>
            <pc:docMk/>
            <pc:sldMk cId="1905930946" sldId="1258"/>
            <ac:spMk id="3" creationId="{8055B571-E907-72F2-8466-CEC881B1A077}"/>
          </ac:spMkLst>
        </pc:spChg>
        <pc:spChg chg="add mod ord">
          <ac:chgData name="Kristina Keller" userId="a2867ebb-0012-4eee-aea6-0c6cc9d8a658" providerId="ADAL" clId="{27C7E874-EFB9-42FD-BDED-051A9CA8E650}" dt="2022-06-01T14:59:45.342" v="5917" actId="948"/>
          <ac:spMkLst>
            <pc:docMk/>
            <pc:sldMk cId="1905930946" sldId="1258"/>
            <ac:spMk id="4" creationId="{330177BF-920A-9D84-8147-B06D843D0CA5}"/>
          </ac:spMkLst>
        </pc:spChg>
        <pc:spChg chg="add del mod ord">
          <ac:chgData name="Kristina Keller" userId="a2867ebb-0012-4eee-aea6-0c6cc9d8a658" providerId="ADAL" clId="{27C7E874-EFB9-42FD-BDED-051A9CA8E650}" dt="2022-05-31T22:26:26.438" v="5714" actId="478"/>
          <ac:spMkLst>
            <pc:docMk/>
            <pc:sldMk cId="1905930946" sldId="1258"/>
            <ac:spMk id="5" creationId="{FF4AB304-C1EA-F00C-191B-424E264000BA}"/>
          </ac:spMkLst>
        </pc:spChg>
        <pc:spChg chg="add mod">
          <ac:chgData name="Kristina Keller" userId="a2867ebb-0012-4eee-aea6-0c6cc9d8a658" providerId="ADAL" clId="{27C7E874-EFB9-42FD-BDED-051A9CA8E650}" dt="2022-06-06T16:39:43.721" v="7771" actId="20577"/>
          <ac:spMkLst>
            <pc:docMk/>
            <pc:sldMk cId="1905930946" sldId="1258"/>
            <ac:spMk id="10" creationId="{6AF5EE6C-16EA-9CD8-549C-F6F8B6E1A5EA}"/>
          </ac:spMkLst>
        </pc:spChg>
        <pc:graphicFrameChg chg="add mod ord modVis replST">
          <ac:chgData name="Kristina Keller" userId="a2867ebb-0012-4eee-aea6-0c6cc9d8a658" providerId="ADAL" clId="{27C7E874-EFB9-42FD-BDED-051A9CA8E650}" dt="2022-06-01T14:59:45.372" v="5958"/>
          <ac:graphicFrameMkLst>
            <pc:docMk/>
            <pc:sldMk cId="1905930946" sldId="1258"/>
            <ac:graphicFrameMk id="6" creationId="{07193355-44EC-1560-E470-89331215B82C}"/>
          </ac:graphicFrameMkLst>
        </pc:graphicFrameChg>
        <pc:graphicFrameChg chg="add del mod">
          <ac:chgData name="Kristina Keller" userId="a2867ebb-0012-4eee-aea6-0c6cc9d8a658" providerId="ADAL" clId="{27C7E874-EFB9-42FD-BDED-051A9CA8E650}" dt="2022-06-06T16:37:25.255" v="7717" actId="478"/>
          <ac:graphicFrameMkLst>
            <pc:docMk/>
            <pc:sldMk cId="1905930946" sldId="1258"/>
            <ac:graphicFrameMk id="7" creationId="{B855E929-2B3F-89E3-27EC-F5C48857406B}"/>
          </ac:graphicFrameMkLst>
        </pc:graphicFrameChg>
        <pc:picChg chg="add mod">
          <ac:chgData name="Kristina Keller" userId="a2867ebb-0012-4eee-aea6-0c6cc9d8a658" providerId="ADAL" clId="{27C7E874-EFB9-42FD-BDED-051A9CA8E650}" dt="2022-06-06T16:37:51.342" v="7726" actId="1076"/>
          <ac:picMkLst>
            <pc:docMk/>
            <pc:sldMk cId="1905930946" sldId="1258"/>
            <ac:picMk id="8" creationId="{1668C53C-02D0-0B0C-9076-9F85E8572CA0}"/>
          </ac:picMkLst>
        </pc:picChg>
        <pc:picChg chg="add mod">
          <ac:chgData name="Kristina Keller" userId="a2867ebb-0012-4eee-aea6-0c6cc9d8a658" providerId="ADAL" clId="{27C7E874-EFB9-42FD-BDED-051A9CA8E650}" dt="2022-05-31T22:33:02.181" v="5734"/>
          <ac:picMkLst>
            <pc:docMk/>
            <pc:sldMk cId="1905930946" sldId="1258"/>
            <ac:picMk id="9" creationId="{DB852F1D-FD9F-0D61-16C8-7052F70DDCB0}"/>
          </ac:picMkLst>
        </pc:picChg>
      </pc:sldChg>
      <pc:sldChg chg="addSp delSp modSp new add mod modClrScheme chgLayout">
        <pc:chgData name="Kristina Keller" userId="a2867ebb-0012-4eee-aea6-0c6cc9d8a658" providerId="ADAL" clId="{27C7E874-EFB9-42FD-BDED-051A9CA8E650}" dt="2022-05-31T22:32:50.034" v="5725" actId="1076"/>
        <pc:sldMkLst>
          <pc:docMk/>
          <pc:sldMk cId="3120443109" sldId="1259"/>
        </pc:sldMkLst>
        <pc:spChg chg="del mod ord">
          <ac:chgData name="Kristina Keller" userId="a2867ebb-0012-4eee-aea6-0c6cc9d8a658" providerId="ADAL" clId="{27C7E874-EFB9-42FD-BDED-051A9CA8E650}" dt="2022-05-31T20:03:35.533" v="200"/>
          <ac:spMkLst>
            <pc:docMk/>
            <pc:sldMk cId="3120443109" sldId="1259"/>
            <ac:spMk id="2" creationId="{2FA2227F-0A86-42A4-C30D-A3F6D1B9E550}"/>
          </ac:spMkLst>
        </pc:spChg>
        <pc:spChg chg="del">
          <ac:chgData name="Kristina Keller" userId="a2867ebb-0012-4eee-aea6-0c6cc9d8a658" providerId="ADAL" clId="{27C7E874-EFB9-42FD-BDED-051A9CA8E650}" dt="2022-05-31T20:03:35.533" v="200"/>
          <ac:spMkLst>
            <pc:docMk/>
            <pc:sldMk cId="3120443109" sldId="1259"/>
            <ac:spMk id="3" creationId="{57F3F745-D002-B4D8-D3FF-5ABFE9746344}"/>
          </ac:spMkLst>
        </pc:spChg>
        <pc:spChg chg="add mod ord">
          <ac:chgData name="Kristina Keller" userId="a2867ebb-0012-4eee-aea6-0c6cc9d8a658" providerId="ADAL" clId="{27C7E874-EFB9-42FD-BDED-051A9CA8E650}" dt="2022-05-31T20:03:41.208" v="225" actId="948"/>
          <ac:spMkLst>
            <pc:docMk/>
            <pc:sldMk cId="3120443109" sldId="1259"/>
            <ac:spMk id="4" creationId="{66CFC26E-31C7-0FFC-89A2-3B54549E9DDB}"/>
          </ac:spMkLst>
        </pc:spChg>
        <pc:spChg chg="add mod ord">
          <ac:chgData name="Kristina Keller" userId="a2867ebb-0012-4eee-aea6-0c6cc9d8a658" providerId="ADAL" clId="{27C7E874-EFB9-42FD-BDED-051A9CA8E650}" dt="2022-05-31T20:07:15.668" v="515" actId="20577"/>
          <ac:spMkLst>
            <pc:docMk/>
            <pc:sldMk cId="3120443109" sldId="1259"/>
            <ac:spMk id="5" creationId="{6A07C47D-0F83-5FAF-477C-2AA1CB6AA50C}"/>
          </ac:spMkLst>
        </pc:spChg>
        <pc:graphicFrameChg chg="add mod ord modVis replST">
          <ac:chgData name="Kristina Keller" userId="a2867ebb-0012-4eee-aea6-0c6cc9d8a658" providerId="ADAL" clId="{27C7E874-EFB9-42FD-BDED-051A9CA8E650}" dt="2022-05-31T20:03:41.213" v="227"/>
          <ac:graphicFrameMkLst>
            <pc:docMk/>
            <pc:sldMk cId="3120443109" sldId="1259"/>
            <ac:graphicFrameMk id="6" creationId="{3A01CEE1-37FE-27CF-B1ED-C8443EB71F80}"/>
          </ac:graphicFrameMkLst>
        </pc:graphicFrameChg>
        <pc:picChg chg="add mod">
          <ac:chgData name="Kristina Keller" userId="a2867ebb-0012-4eee-aea6-0c6cc9d8a658" providerId="ADAL" clId="{27C7E874-EFB9-42FD-BDED-051A9CA8E650}" dt="2022-05-31T22:32:50.034" v="5725" actId="1076"/>
          <ac:picMkLst>
            <pc:docMk/>
            <pc:sldMk cId="3120443109" sldId="1259"/>
            <ac:picMk id="7" creationId="{9716E48B-EBF2-DFBF-227C-A292D881D2E8}"/>
          </ac:picMkLst>
        </pc:picChg>
      </pc:sldChg>
      <pc:sldChg chg="addSp delSp modSp new add mod modClrScheme chgLayout">
        <pc:chgData name="Kristina Keller" userId="a2867ebb-0012-4eee-aea6-0c6cc9d8a658" providerId="ADAL" clId="{27C7E874-EFB9-42FD-BDED-051A9CA8E650}" dt="2022-06-02T17:52:05.623" v="6843" actId="1076"/>
        <pc:sldMkLst>
          <pc:docMk/>
          <pc:sldMk cId="4074738519" sldId="1260"/>
        </pc:sldMkLst>
        <pc:spChg chg="add del mod modVis">
          <ac:chgData name="Kristina Keller" userId="a2867ebb-0012-4eee-aea6-0c6cc9d8a658" providerId="ADAL" clId="{27C7E874-EFB9-42FD-BDED-051A9CA8E650}" dt="2022-05-31T21:47:45.794" v="4283"/>
          <ac:spMkLst>
            <pc:docMk/>
            <pc:sldMk cId="4074738519" sldId="1260"/>
            <ac:spMk id="2" creationId="{CF015F45-D9D0-FE1B-376F-013179100398}"/>
          </ac:spMkLst>
        </pc:spChg>
        <pc:spChg chg="del mod ord">
          <ac:chgData name="Kristina Keller" userId="a2867ebb-0012-4eee-aea6-0c6cc9d8a658" providerId="ADAL" clId="{27C7E874-EFB9-42FD-BDED-051A9CA8E650}" dt="2022-05-31T20:08:15.880" v="532"/>
          <ac:spMkLst>
            <pc:docMk/>
            <pc:sldMk cId="4074738519" sldId="1260"/>
            <ac:spMk id="2" creationId="{E6CACA7D-18A9-B91A-854C-F6E8869B9B3D}"/>
          </ac:spMkLst>
        </pc:spChg>
        <pc:spChg chg="del">
          <ac:chgData name="Kristina Keller" userId="a2867ebb-0012-4eee-aea6-0c6cc9d8a658" providerId="ADAL" clId="{27C7E874-EFB9-42FD-BDED-051A9CA8E650}" dt="2022-05-31T20:08:15.880" v="532"/>
          <ac:spMkLst>
            <pc:docMk/>
            <pc:sldMk cId="4074738519" sldId="1260"/>
            <ac:spMk id="3" creationId="{B7B5939B-AC4E-6B63-433D-24DDAFDCB7AE}"/>
          </ac:spMkLst>
        </pc:spChg>
        <pc:spChg chg="add mod ord">
          <ac:chgData name="Kristina Keller" userId="a2867ebb-0012-4eee-aea6-0c6cc9d8a658" providerId="ADAL" clId="{27C7E874-EFB9-42FD-BDED-051A9CA8E650}" dt="2022-05-31T21:47:45.762" v="4244" actId="948"/>
          <ac:spMkLst>
            <pc:docMk/>
            <pc:sldMk cId="4074738519" sldId="1260"/>
            <ac:spMk id="4" creationId="{65CE5BFE-A1E4-D1BF-2004-068614FF4EB2}"/>
          </ac:spMkLst>
        </pc:spChg>
        <pc:spChg chg="add mod ord">
          <ac:chgData name="Kristina Keller" userId="a2867ebb-0012-4eee-aea6-0c6cc9d8a658" providerId="ADAL" clId="{27C7E874-EFB9-42FD-BDED-051A9CA8E650}" dt="2022-05-31T21:47:52.757" v="4293" actId="20577"/>
          <ac:spMkLst>
            <pc:docMk/>
            <pc:sldMk cId="4074738519" sldId="1260"/>
            <ac:spMk id="5" creationId="{A1317EAC-6E2D-9AFB-F39E-D311C1812AB5}"/>
          </ac:spMkLst>
        </pc:spChg>
        <pc:spChg chg="add del mod modVis">
          <ac:chgData name="Kristina Keller" userId="a2867ebb-0012-4eee-aea6-0c6cc9d8a658" providerId="ADAL" clId="{27C7E874-EFB9-42FD-BDED-051A9CA8E650}" dt="2022-05-31T20:08:25.654" v="597"/>
          <ac:spMkLst>
            <pc:docMk/>
            <pc:sldMk cId="4074738519" sldId="1260"/>
            <ac:spMk id="7" creationId="{FD0C2D76-64FF-AE22-FCBB-FB34CE080053}"/>
          </ac:spMkLst>
        </pc:spChg>
        <pc:spChg chg="add del mod modVis">
          <ac:chgData name="Kristina Keller" userId="a2867ebb-0012-4eee-aea6-0c6cc9d8a658" providerId="ADAL" clId="{27C7E874-EFB9-42FD-BDED-051A9CA8E650}" dt="2022-05-31T20:08:28.274" v="647"/>
          <ac:spMkLst>
            <pc:docMk/>
            <pc:sldMk cId="4074738519" sldId="1260"/>
            <ac:spMk id="8" creationId="{F3F861B6-0714-E8EE-340B-33A3C30863B0}"/>
          </ac:spMkLst>
        </pc:spChg>
        <pc:spChg chg="add del mod modVis">
          <ac:chgData name="Kristina Keller" userId="a2867ebb-0012-4eee-aea6-0c6cc9d8a658" providerId="ADAL" clId="{27C7E874-EFB9-42FD-BDED-051A9CA8E650}" dt="2022-05-31T20:08:28.542" v="690"/>
          <ac:spMkLst>
            <pc:docMk/>
            <pc:sldMk cId="4074738519" sldId="1260"/>
            <ac:spMk id="9" creationId="{01FCF149-7A97-2ED8-6D3D-0AE75BC61918}"/>
          </ac:spMkLst>
        </pc:spChg>
        <pc:spChg chg="add del mod modVis">
          <ac:chgData name="Kristina Keller" userId="a2867ebb-0012-4eee-aea6-0c6cc9d8a658" providerId="ADAL" clId="{27C7E874-EFB9-42FD-BDED-051A9CA8E650}" dt="2022-05-31T20:08:30.482" v="742"/>
          <ac:spMkLst>
            <pc:docMk/>
            <pc:sldMk cId="4074738519" sldId="1260"/>
            <ac:spMk id="10" creationId="{1F8C273A-93DF-0CAE-FBA4-56AE81DE02B3}"/>
          </ac:spMkLst>
        </pc:spChg>
        <pc:spChg chg="add del mod modVis">
          <ac:chgData name="Kristina Keller" userId="a2867ebb-0012-4eee-aea6-0c6cc9d8a658" providerId="ADAL" clId="{27C7E874-EFB9-42FD-BDED-051A9CA8E650}" dt="2022-05-31T20:39:02.403" v="2920"/>
          <ac:spMkLst>
            <pc:docMk/>
            <pc:sldMk cId="4074738519" sldId="1260"/>
            <ac:spMk id="11" creationId="{B47D1AD4-3E0F-D8BC-0114-AF849FC2AE60}"/>
          </ac:spMkLst>
        </pc:spChg>
        <pc:spChg chg="add del mod modVis">
          <ac:chgData name="Kristina Keller" userId="a2867ebb-0012-4eee-aea6-0c6cc9d8a658" providerId="ADAL" clId="{27C7E874-EFB9-42FD-BDED-051A9CA8E650}" dt="2022-05-31T20:40:57.371" v="2963"/>
          <ac:spMkLst>
            <pc:docMk/>
            <pc:sldMk cId="4074738519" sldId="1260"/>
            <ac:spMk id="12" creationId="{BEDD0207-4FCE-80C8-B79D-482428E28A58}"/>
          </ac:spMkLst>
        </pc:spChg>
        <pc:spChg chg="add del mod">
          <ac:chgData name="Kristina Keller" userId="a2867ebb-0012-4eee-aea6-0c6cc9d8a658" providerId="ADAL" clId="{27C7E874-EFB9-42FD-BDED-051A9CA8E650}" dt="2022-05-31T20:44:50.248" v="3147" actId="478"/>
          <ac:spMkLst>
            <pc:docMk/>
            <pc:sldMk cId="4074738519" sldId="1260"/>
            <ac:spMk id="14" creationId="{6945D00C-A8E6-3A4F-E720-D8738855E314}"/>
          </ac:spMkLst>
        </pc:spChg>
        <pc:spChg chg="add mod">
          <ac:chgData name="Kristina Keller" userId="a2867ebb-0012-4eee-aea6-0c6cc9d8a658" providerId="ADAL" clId="{27C7E874-EFB9-42FD-BDED-051A9CA8E650}" dt="2022-06-02T17:52:05.623" v="6843" actId="1076"/>
          <ac:spMkLst>
            <pc:docMk/>
            <pc:sldMk cId="4074738519" sldId="1260"/>
            <ac:spMk id="15" creationId="{08F85AF3-B23F-4905-BE76-99D3C6D1DBA9}"/>
          </ac:spMkLst>
        </pc:spChg>
        <pc:spChg chg="add mod">
          <ac:chgData name="Kristina Keller" userId="a2867ebb-0012-4eee-aea6-0c6cc9d8a658" providerId="ADAL" clId="{27C7E874-EFB9-42FD-BDED-051A9CA8E650}" dt="2022-05-31T21:18:51.925" v="3482" actId="164"/>
          <ac:spMkLst>
            <pc:docMk/>
            <pc:sldMk cId="4074738519" sldId="1260"/>
            <ac:spMk id="20" creationId="{4B972F50-073A-C773-E820-99A00D978D42}"/>
          </ac:spMkLst>
        </pc:spChg>
        <pc:spChg chg="add mod">
          <ac:chgData name="Kristina Keller" userId="a2867ebb-0012-4eee-aea6-0c6cc9d8a658" providerId="ADAL" clId="{27C7E874-EFB9-42FD-BDED-051A9CA8E650}" dt="2022-05-31T21:18:51.925" v="3482" actId="164"/>
          <ac:spMkLst>
            <pc:docMk/>
            <pc:sldMk cId="4074738519" sldId="1260"/>
            <ac:spMk id="21" creationId="{9216DFCC-01AC-88DF-AB63-E74BA6C8A363}"/>
          </ac:spMkLst>
        </pc:spChg>
        <pc:spChg chg="add mod">
          <ac:chgData name="Kristina Keller" userId="a2867ebb-0012-4eee-aea6-0c6cc9d8a658" providerId="ADAL" clId="{27C7E874-EFB9-42FD-BDED-051A9CA8E650}" dt="2022-05-31T21:18:51.925" v="3482" actId="164"/>
          <ac:spMkLst>
            <pc:docMk/>
            <pc:sldMk cId="4074738519" sldId="1260"/>
            <ac:spMk id="22" creationId="{FCD127FA-C43E-DB8F-8060-3A9792158495}"/>
          </ac:spMkLst>
        </pc:spChg>
        <pc:grpChg chg="add mod">
          <ac:chgData name="Kristina Keller" userId="a2867ebb-0012-4eee-aea6-0c6cc9d8a658" providerId="ADAL" clId="{27C7E874-EFB9-42FD-BDED-051A9CA8E650}" dt="2022-05-31T21:18:51.925" v="3482" actId="164"/>
          <ac:grpSpMkLst>
            <pc:docMk/>
            <pc:sldMk cId="4074738519" sldId="1260"/>
            <ac:grpSpMk id="23" creationId="{C1D5E214-6323-99C7-612D-D700CE6233A5}"/>
          </ac:grpSpMkLst>
        </pc:grpChg>
        <pc:graphicFrameChg chg="add mod ord modVis replST">
          <ac:chgData name="Kristina Keller" userId="a2867ebb-0012-4eee-aea6-0c6cc9d8a658" providerId="ADAL" clId="{27C7E874-EFB9-42FD-BDED-051A9CA8E650}" dt="2022-05-31T21:47:45.798" v="4285"/>
          <ac:graphicFrameMkLst>
            <pc:docMk/>
            <pc:sldMk cId="4074738519" sldId="1260"/>
            <ac:graphicFrameMk id="6" creationId="{478B66AC-737B-CB5D-59A7-397444CFC598}"/>
          </ac:graphicFrameMkLst>
        </pc:graphicFrameChg>
        <pc:picChg chg="add mod">
          <ac:chgData name="Kristina Keller" userId="a2867ebb-0012-4eee-aea6-0c6cc9d8a658" providerId="ADAL" clId="{27C7E874-EFB9-42FD-BDED-051A9CA8E650}" dt="2022-05-31T22:32:52.838" v="5726"/>
          <ac:picMkLst>
            <pc:docMk/>
            <pc:sldMk cId="4074738519" sldId="1260"/>
            <ac:picMk id="12" creationId="{5982A863-EFA5-0766-D788-B63866BB9FB0}"/>
          </ac:picMkLst>
        </pc:picChg>
        <pc:picChg chg="add del mod">
          <ac:chgData name="Kristina Keller" userId="a2867ebb-0012-4eee-aea6-0c6cc9d8a658" providerId="ADAL" clId="{27C7E874-EFB9-42FD-BDED-051A9CA8E650}" dt="2022-05-31T20:54:20.536" v="3155" actId="478"/>
          <ac:picMkLst>
            <pc:docMk/>
            <pc:sldMk cId="4074738519" sldId="1260"/>
            <ac:picMk id="17" creationId="{9E7EFFB2-00F3-98DD-40DE-FB13B2012F35}"/>
          </ac:picMkLst>
        </pc:picChg>
        <pc:picChg chg="add mod">
          <ac:chgData name="Kristina Keller" userId="a2867ebb-0012-4eee-aea6-0c6cc9d8a658" providerId="ADAL" clId="{27C7E874-EFB9-42FD-BDED-051A9CA8E650}" dt="2022-05-31T21:18:51.925" v="3482" actId="164"/>
          <ac:picMkLst>
            <pc:docMk/>
            <pc:sldMk cId="4074738519" sldId="1260"/>
            <ac:picMk id="19" creationId="{EE9A1911-7DE1-ED38-003B-33DC8E104206}"/>
          </ac:picMkLst>
        </pc:picChg>
      </pc:sldChg>
      <pc:sldChg chg="addSp delSp modSp add mod">
        <pc:chgData name="Kristina Keller" userId="a2867ebb-0012-4eee-aea6-0c6cc9d8a658" providerId="ADAL" clId="{27C7E874-EFB9-42FD-BDED-051A9CA8E650}" dt="2022-06-02T17:51:56.473" v="6842" actId="1076"/>
        <pc:sldMkLst>
          <pc:docMk/>
          <pc:sldMk cId="994408077" sldId="1261"/>
        </pc:sldMkLst>
        <pc:spChg chg="add del mod modVis">
          <ac:chgData name="Kristina Keller" userId="a2867ebb-0012-4eee-aea6-0c6cc9d8a658" providerId="ADAL" clId="{27C7E874-EFB9-42FD-BDED-051A9CA8E650}" dt="2022-05-31T20:08:36.788" v="786"/>
          <ac:spMkLst>
            <pc:docMk/>
            <pc:sldMk cId="994408077" sldId="1261"/>
            <ac:spMk id="2" creationId="{CD8D5F24-D6C8-BAEA-E8E0-C210E4B07F14}"/>
          </ac:spMkLst>
        </pc:spChg>
        <pc:spChg chg="add del mod modVis">
          <ac:chgData name="Kristina Keller" userId="a2867ebb-0012-4eee-aea6-0c6cc9d8a658" providerId="ADAL" clId="{27C7E874-EFB9-42FD-BDED-051A9CA8E650}" dt="2022-05-31T20:08:40.312" v="837"/>
          <ac:spMkLst>
            <pc:docMk/>
            <pc:sldMk cId="994408077" sldId="1261"/>
            <ac:spMk id="3" creationId="{5D8CD75F-D68D-3502-89D9-502D55D92E86}"/>
          </ac:spMkLst>
        </pc:spChg>
        <pc:spChg chg="mod ord">
          <ac:chgData name="Kristina Keller" userId="a2867ebb-0012-4eee-aea6-0c6cc9d8a658" providerId="ADAL" clId="{27C7E874-EFB9-42FD-BDED-051A9CA8E650}" dt="2022-05-31T21:29:01.641" v="3597"/>
          <ac:spMkLst>
            <pc:docMk/>
            <pc:sldMk cId="994408077" sldId="1261"/>
            <ac:spMk id="4" creationId="{65CE5BFE-A1E4-D1BF-2004-068614FF4EB2}"/>
          </ac:spMkLst>
        </pc:spChg>
        <pc:spChg chg="mod ord">
          <ac:chgData name="Kristina Keller" userId="a2867ebb-0012-4eee-aea6-0c6cc9d8a658" providerId="ADAL" clId="{27C7E874-EFB9-42FD-BDED-051A9CA8E650}" dt="2022-05-31T21:29:01.641" v="3595"/>
          <ac:spMkLst>
            <pc:docMk/>
            <pc:sldMk cId="994408077" sldId="1261"/>
            <ac:spMk id="5" creationId="{A1317EAC-6E2D-9AFB-F39E-D311C1812AB5}"/>
          </ac:spMkLst>
        </pc:spChg>
        <pc:spChg chg="add del mod modVis">
          <ac:chgData name="Kristina Keller" userId="a2867ebb-0012-4eee-aea6-0c6cc9d8a658" providerId="ADAL" clId="{27C7E874-EFB9-42FD-BDED-051A9CA8E650}" dt="2022-05-31T20:08:42.889" v="892"/>
          <ac:spMkLst>
            <pc:docMk/>
            <pc:sldMk cId="994408077" sldId="1261"/>
            <ac:spMk id="7" creationId="{2E1C8FD4-2DEB-74D8-C143-8FC2B3F2A48F}"/>
          </ac:spMkLst>
        </pc:spChg>
        <pc:spChg chg="add mod ord">
          <ac:chgData name="Kristina Keller" userId="a2867ebb-0012-4eee-aea6-0c6cc9d8a658" providerId="ADAL" clId="{27C7E874-EFB9-42FD-BDED-051A9CA8E650}" dt="2022-06-02T17:51:56.473" v="6842" actId="1076"/>
          <ac:spMkLst>
            <pc:docMk/>
            <pc:sldMk cId="994408077" sldId="1261"/>
            <ac:spMk id="9" creationId="{E9F15DD8-801F-4615-BF79-7EAFD749C5AD}"/>
          </ac:spMkLst>
        </pc:spChg>
        <pc:spChg chg="add mod ord">
          <ac:chgData name="Kristina Keller" userId="a2867ebb-0012-4eee-aea6-0c6cc9d8a658" providerId="ADAL" clId="{27C7E874-EFB9-42FD-BDED-051A9CA8E650}" dt="2022-05-31T21:32:14.978" v="3660" actId="164"/>
          <ac:spMkLst>
            <pc:docMk/>
            <pc:sldMk cId="994408077" sldId="1261"/>
            <ac:spMk id="20" creationId="{78A99300-7357-E316-CBCB-2146E3446D99}"/>
          </ac:spMkLst>
        </pc:spChg>
        <pc:spChg chg="add mod ord">
          <ac:chgData name="Kristina Keller" userId="a2867ebb-0012-4eee-aea6-0c6cc9d8a658" providerId="ADAL" clId="{27C7E874-EFB9-42FD-BDED-051A9CA8E650}" dt="2022-05-31T21:32:14.978" v="3660" actId="164"/>
          <ac:spMkLst>
            <pc:docMk/>
            <pc:sldMk cId="994408077" sldId="1261"/>
            <ac:spMk id="21" creationId="{2E214909-7B34-66B9-D843-EA78256A888B}"/>
          </ac:spMkLst>
        </pc:spChg>
        <pc:spChg chg="add mod ord">
          <ac:chgData name="Kristina Keller" userId="a2867ebb-0012-4eee-aea6-0c6cc9d8a658" providerId="ADAL" clId="{27C7E874-EFB9-42FD-BDED-051A9CA8E650}" dt="2022-05-31T21:32:14.978" v="3660" actId="164"/>
          <ac:spMkLst>
            <pc:docMk/>
            <pc:sldMk cId="994408077" sldId="1261"/>
            <ac:spMk id="22" creationId="{DD129562-C135-CA33-0F35-FBE78F199124}"/>
          </ac:spMkLst>
        </pc:spChg>
        <pc:spChg chg="add mod ord">
          <ac:chgData name="Kristina Keller" userId="a2867ebb-0012-4eee-aea6-0c6cc9d8a658" providerId="ADAL" clId="{27C7E874-EFB9-42FD-BDED-051A9CA8E650}" dt="2022-05-31T21:32:14.978" v="3660" actId="164"/>
          <ac:spMkLst>
            <pc:docMk/>
            <pc:sldMk cId="994408077" sldId="1261"/>
            <ac:spMk id="23" creationId="{F4562655-05C7-9373-0886-A82BADA5877F}"/>
          </ac:spMkLst>
        </pc:spChg>
        <pc:grpChg chg="add del mod ord">
          <ac:chgData name="Kristina Keller" userId="a2867ebb-0012-4eee-aea6-0c6cc9d8a658" providerId="ADAL" clId="{27C7E874-EFB9-42FD-BDED-051A9CA8E650}" dt="2022-05-31T21:31:27.470" v="3648" actId="478"/>
          <ac:grpSpMkLst>
            <pc:docMk/>
            <pc:sldMk cId="994408077" sldId="1261"/>
            <ac:grpSpMk id="32" creationId="{B7992162-698D-324F-C085-4E49C0ED37D3}"/>
          </ac:grpSpMkLst>
        </pc:grpChg>
        <pc:grpChg chg="add mod">
          <ac:chgData name="Kristina Keller" userId="a2867ebb-0012-4eee-aea6-0c6cc9d8a658" providerId="ADAL" clId="{27C7E874-EFB9-42FD-BDED-051A9CA8E650}" dt="2022-05-31T21:32:14.978" v="3660" actId="164"/>
          <ac:grpSpMkLst>
            <pc:docMk/>
            <pc:sldMk cId="994408077" sldId="1261"/>
            <ac:grpSpMk id="33" creationId="{5B505A0D-F400-BDAF-FA55-BB71A2BF374D}"/>
          </ac:grpSpMkLst>
        </pc:grpChg>
        <pc:grpChg chg="add mod">
          <ac:chgData name="Kristina Keller" userId="a2867ebb-0012-4eee-aea6-0c6cc9d8a658" providerId="ADAL" clId="{27C7E874-EFB9-42FD-BDED-051A9CA8E650}" dt="2022-05-31T21:32:14.978" v="3660" actId="164"/>
          <ac:grpSpMkLst>
            <pc:docMk/>
            <pc:sldMk cId="994408077" sldId="1261"/>
            <ac:grpSpMk id="39" creationId="{41331876-9AA1-8F45-D377-E989831DB374}"/>
          </ac:grpSpMkLst>
        </pc:grpChg>
        <pc:graphicFrameChg chg="mod">
          <ac:chgData name="Kristina Keller" userId="a2867ebb-0012-4eee-aea6-0c6cc9d8a658" providerId="ADAL" clId="{27C7E874-EFB9-42FD-BDED-051A9CA8E650}" dt="2022-05-31T21:29:01.646" v="3609"/>
          <ac:graphicFrameMkLst>
            <pc:docMk/>
            <pc:sldMk cId="994408077" sldId="1261"/>
            <ac:graphicFrameMk id="6" creationId="{478B66AC-737B-CB5D-59A7-397444CFC598}"/>
          </ac:graphicFrameMkLst>
        </pc:graphicFrameChg>
        <pc:picChg chg="add del mod">
          <ac:chgData name="Kristina Keller" userId="a2867ebb-0012-4eee-aea6-0c6cc9d8a658" providerId="ADAL" clId="{27C7E874-EFB9-42FD-BDED-051A9CA8E650}" dt="2022-05-31T21:10:02.786" v="3371" actId="478"/>
          <ac:picMkLst>
            <pc:docMk/>
            <pc:sldMk cId="994408077" sldId="1261"/>
            <ac:picMk id="11" creationId="{6A257AF9-CC08-8F20-553A-264428D930B7}"/>
          </ac:picMkLst>
        </pc:picChg>
        <pc:picChg chg="add mod ord">
          <ac:chgData name="Kristina Keller" userId="a2867ebb-0012-4eee-aea6-0c6cc9d8a658" providerId="ADAL" clId="{27C7E874-EFB9-42FD-BDED-051A9CA8E650}" dt="2022-05-31T21:28:57.923" v="3588" actId="1076"/>
          <ac:picMkLst>
            <pc:docMk/>
            <pc:sldMk cId="994408077" sldId="1261"/>
            <ac:picMk id="13" creationId="{0B5CDCBC-6718-EB4D-771B-5C7423B811F0}"/>
          </ac:picMkLst>
        </pc:picChg>
        <pc:picChg chg="add del mod ord">
          <ac:chgData name="Kristina Keller" userId="a2867ebb-0012-4eee-aea6-0c6cc9d8a658" providerId="ADAL" clId="{27C7E874-EFB9-42FD-BDED-051A9CA8E650}" dt="2022-05-31T21:15:35.359" v="3399" actId="478"/>
          <ac:picMkLst>
            <pc:docMk/>
            <pc:sldMk cId="994408077" sldId="1261"/>
            <ac:picMk id="15" creationId="{504177DE-2E56-D432-536B-A2D4049CB411}"/>
          </ac:picMkLst>
        </pc:picChg>
        <pc:picChg chg="add mod ord">
          <ac:chgData name="Kristina Keller" userId="a2867ebb-0012-4eee-aea6-0c6cc9d8a658" providerId="ADAL" clId="{27C7E874-EFB9-42FD-BDED-051A9CA8E650}" dt="2022-05-31T21:28:42.699" v="3582" actId="14100"/>
          <ac:picMkLst>
            <pc:docMk/>
            <pc:sldMk cId="994408077" sldId="1261"/>
            <ac:picMk id="17" creationId="{AFA45DE1-BCE8-3B9E-219A-8AFA4D541BD3}"/>
          </ac:picMkLst>
        </pc:picChg>
        <pc:picChg chg="add mod">
          <ac:chgData name="Kristina Keller" userId="a2867ebb-0012-4eee-aea6-0c6cc9d8a658" providerId="ADAL" clId="{27C7E874-EFB9-42FD-BDED-051A9CA8E650}" dt="2022-05-31T22:32:54.239" v="5727"/>
          <ac:picMkLst>
            <pc:docMk/>
            <pc:sldMk cId="994408077" sldId="1261"/>
            <ac:picMk id="18" creationId="{B9BC6139-6468-2D9C-B748-5D276CDF70D5}"/>
          </ac:picMkLst>
        </pc:picChg>
        <pc:picChg chg="add mod ord">
          <ac:chgData name="Kristina Keller" userId="a2867ebb-0012-4eee-aea6-0c6cc9d8a658" providerId="ADAL" clId="{27C7E874-EFB9-42FD-BDED-051A9CA8E650}" dt="2022-05-31T21:32:14.978" v="3660" actId="164"/>
          <ac:picMkLst>
            <pc:docMk/>
            <pc:sldMk cId="994408077" sldId="1261"/>
            <ac:picMk id="19" creationId="{9F49F976-B36A-9A1A-58E6-A03D390934E7}"/>
          </ac:picMkLst>
        </pc:picChg>
        <pc:picChg chg="add mod ord">
          <ac:chgData name="Kristina Keller" userId="a2867ebb-0012-4eee-aea6-0c6cc9d8a658" providerId="ADAL" clId="{27C7E874-EFB9-42FD-BDED-051A9CA8E650}" dt="2022-05-31T21:28:54.160" v="3587" actId="1076"/>
          <ac:picMkLst>
            <pc:docMk/>
            <pc:sldMk cId="994408077" sldId="1261"/>
            <ac:picMk id="25" creationId="{8A4629EE-561E-5AF9-6400-842964CB5B5E}"/>
          </ac:picMkLst>
        </pc:picChg>
        <pc:picChg chg="add mod ord">
          <ac:chgData name="Kristina Keller" userId="a2867ebb-0012-4eee-aea6-0c6cc9d8a658" providerId="ADAL" clId="{27C7E874-EFB9-42FD-BDED-051A9CA8E650}" dt="2022-05-31T21:28:48.864" v="3585" actId="1076"/>
          <ac:picMkLst>
            <pc:docMk/>
            <pc:sldMk cId="994408077" sldId="1261"/>
            <ac:picMk id="27" creationId="{7AF142CC-B6B6-332E-B98D-7F990F603DCC}"/>
          </ac:picMkLst>
        </pc:picChg>
        <pc:picChg chg="add del">
          <ac:chgData name="Kristina Keller" userId="a2867ebb-0012-4eee-aea6-0c6cc9d8a658" providerId="ADAL" clId="{27C7E874-EFB9-42FD-BDED-051A9CA8E650}" dt="2022-05-31T21:26:39.469" v="3538" actId="478"/>
          <ac:picMkLst>
            <pc:docMk/>
            <pc:sldMk cId="994408077" sldId="1261"/>
            <ac:picMk id="29" creationId="{A114F695-4D4B-9BB6-957C-BCC38296DCFF}"/>
          </ac:picMkLst>
        </pc:picChg>
        <pc:picChg chg="add mod ord">
          <ac:chgData name="Kristina Keller" userId="a2867ebb-0012-4eee-aea6-0c6cc9d8a658" providerId="ADAL" clId="{27C7E874-EFB9-42FD-BDED-051A9CA8E650}" dt="2022-05-31T21:28:01.413" v="3572" actId="164"/>
          <ac:picMkLst>
            <pc:docMk/>
            <pc:sldMk cId="994408077" sldId="1261"/>
            <ac:picMk id="31" creationId="{A6022B9C-FFCC-14DA-0132-E9C6A4C12EEC}"/>
          </ac:picMkLst>
        </pc:picChg>
        <pc:picChg chg="mod">
          <ac:chgData name="Kristina Keller" userId="a2867ebb-0012-4eee-aea6-0c6cc9d8a658" providerId="ADAL" clId="{27C7E874-EFB9-42FD-BDED-051A9CA8E650}" dt="2022-05-31T21:31:28.420" v="3649"/>
          <ac:picMkLst>
            <pc:docMk/>
            <pc:sldMk cId="994408077" sldId="1261"/>
            <ac:picMk id="34" creationId="{8D0B1D1C-F6EF-2721-2956-FB86D982A904}"/>
          </ac:picMkLst>
        </pc:picChg>
        <pc:picChg chg="mod">
          <ac:chgData name="Kristina Keller" userId="a2867ebb-0012-4eee-aea6-0c6cc9d8a658" providerId="ADAL" clId="{27C7E874-EFB9-42FD-BDED-051A9CA8E650}" dt="2022-05-31T21:31:28.420" v="3649"/>
          <ac:picMkLst>
            <pc:docMk/>
            <pc:sldMk cId="994408077" sldId="1261"/>
            <ac:picMk id="35" creationId="{FB0B62FF-5B8B-03D8-EA8D-4118B9A578AC}"/>
          </ac:picMkLst>
        </pc:picChg>
        <pc:picChg chg="mod">
          <ac:chgData name="Kristina Keller" userId="a2867ebb-0012-4eee-aea6-0c6cc9d8a658" providerId="ADAL" clId="{27C7E874-EFB9-42FD-BDED-051A9CA8E650}" dt="2022-05-31T21:31:28.420" v="3649"/>
          <ac:picMkLst>
            <pc:docMk/>
            <pc:sldMk cId="994408077" sldId="1261"/>
            <ac:picMk id="36" creationId="{B8EE302E-6FC7-BA49-484B-B839BA6E1816}"/>
          </ac:picMkLst>
        </pc:picChg>
        <pc:picChg chg="mod">
          <ac:chgData name="Kristina Keller" userId="a2867ebb-0012-4eee-aea6-0c6cc9d8a658" providerId="ADAL" clId="{27C7E874-EFB9-42FD-BDED-051A9CA8E650}" dt="2022-05-31T21:31:28.420" v="3649"/>
          <ac:picMkLst>
            <pc:docMk/>
            <pc:sldMk cId="994408077" sldId="1261"/>
            <ac:picMk id="37" creationId="{600DBD25-BA65-2A05-1BC1-1BBD95C320BF}"/>
          </ac:picMkLst>
        </pc:picChg>
        <pc:picChg chg="mod">
          <ac:chgData name="Kristina Keller" userId="a2867ebb-0012-4eee-aea6-0c6cc9d8a658" providerId="ADAL" clId="{27C7E874-EFB9-42FD-BDED-051A9CA8E650}" dt="2022-05-31T21:31:28.420" v="3649"/>
          <ac:picMkLst>
            <pc:docMk/>
            <pc:sldMk cId="994408077" sldId="1261"/>
            <ac:picMk id="38" creationId="{C67977C3-0B40-4028-648D-34940B685B8D}"/>
          </ac:picMkLst>
        </pc:picChg>
      </pc:sldChg>
      <pc:sldChg chg="addSp delSp modSp new add mod">
        <pc:chgData name="Kristina Keller" userId="a2867ebb-0012-4eee-aea6-0c6cc9d8a658" providerId="ADAL" clId="{27C7E874-EFB9-42FD-BDED-051A9CA8E650}" dt="2022-06-02T17:51:48.534" v="6841" actId="1076"/>
        <pc:sldMkLst>
          <pc:docMk/>
          <pc:sldMk cId="3116663153" sldId="1262"/>
        </pc:sldMkLst>
        <pc:spChg chg="mod ord">
          <ac:chgData name="Kristina Keller" userId="a2867ebb-0012-4eee-aea6-0c6cc9d8a658" providerId="ADAL" clId="{27C7E874-EFB9-42FD-BDED-051A9CA8E650}" dt="2022-05-31T21:05:22.268" v="3344"/>
          <ac:spMkLst>
            <pc:docMk/>
            <pc:sldMk cId="3116663153" sldId="1262"/>
            <ac:spMk id="2" creationId="{30E030D2-E94D-F709-F0D4-0F16E19FA5DD}"/>
          </ac:spMkLst>
        </pc:spChg>
        <pc:spChg chg="mod ord">
          <ac:chgData name="Kristina Keller" userId="a2867ebb-0012-4eee-aea6-0c6cc9d8a658" providerId="ADAL" clId="{27C7E874-EFB9-42FD-BDED-051A9CA8E650}" dt="2022-05-31T21:05:22.268" v="3346"/>
          <ac:spMkLst>
            <pc:docMk/>
            <pc:sldMk cId="3116663153" sldId="1262"/>
            <ac:spMk id="3" creationId="{0DC84A71-9386-9E28-2D65-0A588829E2A0}"/>
          </ac:spMkLst>
        </pc:spChg>
        <pc:spChg chg="add del mod modVis">
          <ac:chgData name="Kristina Keller" userId="a2867ebb-0012-4eee-aea6-0c6cc9d8a658" providerId="ADAL" clId="{27C7E874-EFB9-42FD-BDED-051A9CA8E650}" dt="2022-05-31T20:08:55.769" v="962"/>
          <ac:spMkLst>
            <pc:docMk/>
            <pc:sldMk cId="3116663153" sldId="1262"/>
            <ac:spMk id="5" creationId="{68A95F74-96F0-6AEB-222E-E94EA11F9B60}"/>
          </ac:spMkLst>
        </pc:spChg>
        <pc:spChg chg="add del mod modVis">
          <ac:chgData name="Kristina Keller" userId="a2867ebb-0012-4eee-aea6-0c6cc9d8a658" providerId="ADAL" clId="{27C7E874-EFB9-42FD-BDED-051A9CA8E650}" dt="2022-05-31T20:08:58.351" v="1014"/>
          <ac:spMkLst>
            <pc:docMk/>
            <pc:sldMk cId="3116663153" sldId="1262"/>
            <ac:spMk id="6" creationId="{C61B2057-FF88-F0AF-7A4C-EF87C2DBD058}"/>
          </ac:spMkLst>
        </pc:spChg>
        <pc:spChg chg="add del mod modVis">
          <ac:chgData name="Kristina Keller" userId="a2867ebb-0012-4eee-aea6-0c6cc9d8a658" providerId="ADAL" clId="{27C7E874-EFB9-42FD-BDED-051A9CA8E650}" dt="2022-05-31T20:09:04.321" v="1064"/>
          <ac:spMkLst>
            <pc:docMk/>
            <pc:sldMk cId="3116663153" sldId="1262"/>
            <ac:spMk id="7" creationId="{B080120A-123C-9A0F-057A-A58D1E0D4CE3}"/>
          </ac:spMkLst>
        </pc:spChg>
        <pc:spChg chg="add del mod modVis">
          <ac:chgData name="Kristina Keller" userId="a2867ebb-0012-4eee-aea6-0c6cc9d8a658" providerId="ADAL" clId="{27C7E874-EFB9-42FD-BDED-051A9CA8E650}" dt="2022-05-31T20:09:06.640" v="1107"/>
          <ac:spMkLst>
            <pc:docMk/>
            <pc:sldMk cId="3116663153" sldId="1262"/>
            <ac:spMk id="8" creationId="{1F3ED681-46DD-E07B-EDF6-DD83FFA4BAA1}"/>
          </ac:spMkLst>
        </pc:spChg>
        <pc:spChg chg="add del mod modVis">
          <ac:chgData name="Kristina Keller" userId="a2867ebb-0012-4eee-aea6-0c6cc9d8a658" providerId="ADAL" clId="{27C7E874-EFB9-42FD-BDED-051A9CA8E650}" dt="2022-05-31T20:09:12.592" v="1151"/>
          <ac:spMkLst>
            <pc:docMk/>
            <pc:sldMk cId="3116663153" sldId="1262"/>
            <ac:spMk id="9" creationId="{FAFCBAC4-373D-C6B6-2A0A-25CBCE0A0247}"/>
          </ac:spMkLst>
        </pc:spChg>
        <pc:spChg chg="add del mod modVis">
          <ac:chgData name="Kristina Keller" userId="a2867ebb-0012-4eee-aea6-0c6cc9d8a658" providerId="ADAL" clId="{27C7E874-EFB9-42FD-BDED-051A9CA8E650}" dt="2022-05-31T20:09:13.561" v="1195"/>
          <ac:spMkLst>
            <pc:docMk/>
            <pc:sldMk cId="3116663153" sldId="1262"/>
            <ac:spMk id="10" creationId="{833E419E-0EAE-9310-EE34-EAD1976A651A}"/>
          </ac:spMkLst>
        </pc:spChg>
        <pc:spChg chg="add del mod modVis">
          <ac:chgData name="Kristina Keller" userId="a2867ebb-0012-4eee-aea6-0c6cc9d8a658" providerId="ADAL" clId="{27C7E874-EFB9-42FD-BDED-051A9CA8E650}" dt="2022-05-31T20:09:13.834" v="1238"/>
          <ac:spMkLst>
            <pc:docMk/>
            <pc:sldMk cId="3116663153" sldId="1262"/>
            <ac:spMk id="11" creationId="{EC704452-1113-B5E4-6E04-8A81CDC58C10}"/>
          </ac:spMkLst>
        </pc:spChg>
        <pc:spChg chg="add del mod modVis">
          <ac:chgData name="Kristina Keller" userId="a2867ebb-0012-4eee-aea6-0c6cc9d8a658" providerId="ADAL" clId="{27C7E874-EFB9-42FD-BDED-051A9CA8E650}" dt="2022-05-31T20:09:15.765" v="1287"/>
          <ac:spMkLst>
            <pc:docMk/>
            <pc:sldMk cId="3116663153" sldId="1262"/>
            <ac:spMk id="12" creationId="{D82A57A1-6731-D2C5-127A-E2BE6089E58C}"/>
          </ac:spMkLst>
        </pc:spChg>
        <pc:spChg chg="add del mod modVis">
          <ac:chgData name="Kristina Keller" userId="a2867ebb-0012-4eee-aea6-0c6cc9d8a658" providerId="ADAL" clId="{27C7E874-EFB9-42FD-BDED-051A9CA8E650}" dt="2022-05-31T20:09:16.466" v="1330"/>
          <ac:spMkLst>
            <pc:docMk/>
            <pc:sldMk cId="3116663153" sldId="1262"/>
            <ac:spMk id="13" creationId="{2E8FC3D6-30DD-E3F4-AF72-B72681396C3A}"/>
          </ac:spMkLst>
        </pc:spChg>
        <pc:spChg chg="add del mod modVis">
          <ac:chgData name="Kristina Keller" userId="a2867ebb-0012-4eee-aea6-0c6cc9d8a658" providerId="ADAL" clId="{27C7E874-EFB9-42FD-BDED-051A9CA8E650}" dt="2022-05-31T20:09:22.810" v="1384"/>
          <ac:spMkLst>
            <pc:docMk/>
            <pc:sldMk cId="3116663153" sldId="1262"/>
            <ac:spMk id="14" creationId="{4084F8C5-C92D-BAF1-AF3F-D1AF559931D3}"/>
          </ac:spMkLst>
        </pc:spChg>
        <pc:spChg chg="add del mod modVis">
          <ac:chgData name="Kristina Keller" userId="a2867ebb-0012-4eee-aea6-0c6cc9d8a658" providerId="ADAL" clId="{27C7E874-EFB9-42FD-BDED-051A9CA8E650}" dt="2022-05-31T20:09:23.445" v="1427"/>
          <ac:spMkLst>
            <pc:docMk/>
            <pc:sldMk cId="3116663153" sldId="1262"/>
            <ac:spMk id="15" creationId="{54417073-3F58-8BF6-229B-D75A5CAD8849}"/>
          </ac:spMkLst>
        </pc:spChg>
        <pc:spChg chg="add del mod modVis">
          <ac:chgData name="Kristina Keller" userId="a2867ebb-0012-4eee-aea6-0c6cc9d8a658" providerId="ADAL" clId="{27C7E874-EFB9-42FD-BDED-051A9CA8E650}" dt="2022-05-31T20:09:24.066" v="1470"/>
          <ac:spMkLst>
            <pc:docMk/>
            <pc:sldMk cId="3116663153" sldId="1262"/>
            <ac:spMk id="16" creationId="{180716A1-A2CF-BB6E-949A-B7C1C854B3ED}"/>
          </ac:spMkLst>
        </pc:spChg>
        <pc:spChg chg="add del mod modVis">
          <ac:chgData name="Kristina Keller" userId="a2867ebb-0012-4eee-aea6-0c6cc9d8a658" providerId="ADAL" clId="{27C7E874-EFB9-42FD-BDED-051A9CA8E650}" dt="2022-05-31T20:09:24.915" v="1514"/>
          <ac:spMkLst>
            <pc:docMk/>
            <pc:sldMk cId="3116663153" sldId="1262"/>
            <ac:spMk id="17" creationId="{8F6D73ED-973F-D880-B814-2F772B76508A}"/>
          </ac:spMkLst>
        </pc:spChg>
        <pc:spChg chg="add del mod modVis">
          <ac:chgData name="Kristina Keller" userId="a2867ebb-0012-4eee-aea6-0c6cc9d8a658" providerId="ADAL" clId="{27C7E874-EFB9-42FD-BDED-051A9CA8E650}" dt="2022-05-31T20:09:30.447" v="1568"/>
          <ac:spMkLst>
            <pc:docMk/>
            <pc:sldMk cId="3116663153" sldId="1262"/>
            <ac:spMk id="18" creationId="{6D4C2FF4-7E32-74FC-102D-DD56A83A69F4}"/>
          </ac:spMkLst>
        </pc:spChg>
        <pc:spChg chg="add mod ord">
          <ac:chgData name="Kristina Keller" userId="a2867ebb-0012-4eee-aea6-0c6cc9d8a658" providerId="ADAL" clId="{27C7E874-EFB9-42FD-BDED-051A9CA8E650}" dt="2022-06-02T17:51:48.534" v="6841" actId="1076"/>
          <ac:spMkLst>
            <pc:docMk/>
            <pc:sldMk cId="3116663153" sldId="1262"/>
            <ac:spMk id="19" creationId="{99E85603-51C5-24E4-8EB0-5F8A532F5284}"/>
          </ac:spMkLst>
        </pc:spChg>
        <pc:spChg chg="add mod">
          <ac:chgData name="Kristina Keller" userId="a2867ebb-0012-4eee-aea6-0c6cc9d8a658" providerId="ADAL" clId="{27C7E874-EFB9-42FD-BDED-051A9CA8E650}" dt="2022-05-31T21:20:39.354" v="3514" actId="164"/>
          <ac:spMkLst>
            <pc:docMk/>
            <pc:sldMk cId="3116663153" sldId="1262"/>
            <ac:spMk id="28" creationId="{71553926-2C0B-7486-3AA2-A091D19C44FB}"/>
          </ac:spMkLst>
        </pc:spChg>
        <pc:spChg chg="add mod">
          <ac:chgData name="Kristina Keller" userId="a2867ebb-0012-4eee-aea6-0c6cc9d8a658" providerId="ADAL" clId="{27C7E874-EFB9-42FD-BDED-051A9CA8E650}" dt="2022-05-31T21:20:39.354" v="3514" actId="164"/>
          <ac:spMkLst>
            <pc:docMk/>
            <pc:sldMk cId="3116663153" sldId="1262"/>
            <ac:spMk id="29" creationId="{BC9349A7-1615-511D-4541-B88DCD1632E4}"/>
          </ac:spMkLst>
        </pc:spChg>
        <pc:spChg chg="add mod">
          <ac:chgData name="Kristina Keller" userId="a2867ebb-0012-4eee-aea6-0c6cc9d8a658" providerId="ADAL" clId="{27C7E874-EFB9-42FD-BDED-051A9CA8E650}" dt="2022-05-31T21:20:39.354" v="3514" actId="164"/>
          <ac:spMkLst>
            <pc:docMk/>
            <pc:sldMk cId="3116663153" sldId="1262"/>
            <ac:spMk id="30" creationId="{EF965F94-5D0E-98F7-A50E-F33166E51D4F}"/>
          </ac:spMkLst>
        </pc:spChg>
        <pc:spChg chg="add del mod">
          <ac:chgData name="Kristina Keller" userId="a2867ebb-0012-4eee-aea6-0c6cc9d8a658" providerId="ADAL" clId="{27C7E874-EFB9-42FD-BDED-051A9CA8E650}" dt="2022-05-31T21:20:19.590" v="3508"/>
          <ac:spMkLst>
            <pc:docMk/>
            <pc:sldMk cId="3116663153" sldId="1262"/>
            <ac:spMk id="31" creationId="{79169CFC-8BBF-3AFD-B786-C64FEEC9B2A5}"/>
          </ac:spMkLst>
        </pc:spChg>
        <pc:spChg chg="add mod">
          <ac:chgData name="Kristina Keller" userId="a2867ebb-0012-4eee-aea6-0c6cc9d8a658" providerId="ADAL" clId="{27C7E874-EFB9-42FD-BDED-051A9CA8E650}" dt="2022-05-31T21:20:39.354" v="3514" actId="164"/>
          <ac:spMkLst>
            <pc:docMk/>
            <pc:sldMk cId="3116663153" sldId="1262"/>
            <ac:spMk id="32" creationId="{1786BD7A-88EA-B444-5FF2-E4210A60E3A3}"/>
          </ac:spMkLst>
        </pc:spChg>
        <pc:spChg chg="add mod">
          <ac:chgData name="Kristina Keller" userId="a2867ebb-0012-4eee-aea6-0c6cc9d8a658" providerId="ADAL" clId="{27C7E874-EFB9-42FD-BDED-051A9CA8E650}" dt="2022-05-31T21:20:39.354" v="3514" actId="164"/>
          <ac:spMkLst>
            <pc:docMk/>
            <pc:sldMk cId="3116663153" sldId="1262"/>
            <ac:spMk id="33" creationId="{1E593A3E-1D9C-5925-7D4D-5647BED5FE7F}"/>
          </ac:spMkLst>
        </pc:spChg>
        <pc:grpChg chg="add mod">
          <ac:chgData name="Kristina Keller" userId="a2867ebb-0012-4eee-aea6-0c6cc9d8a658" providerId="ADAL" clId="{27C7E874-EFB9-42FD-BDED-051A9CA8E650}" dt="2022-05-31T21:20:42.299" v="3515" actId="1076"/>
          <ac:grpSpMkLst>
            <pc:docMk/>
            <pc:sldMk cId="3116663153" sldId="1262"/>
            <ac:grpSpMk id="34" creationId="{EFB8382A-BAE7-7DC4-ED39-A33F66FCDE6A}"/>
          </ac:grpSpMkLst>
        </pc:grpChg>
        <pc:graphicFrameChg chg="add mod ord modVis replST">
          <ac:chgData name="Kristina Keller" userId="a2867ebb-0012-4eee-aea6-0c6cc9d8a658" providerId="ADAL" clId="{27C7E874-EFB9-42FD-BDED-051A9CA8E650}" dt="2022-05-31T21:05:22.272" v="3356"/>
          <ac:graphicFrameMkLst>
            <pc:docMk/>
            <pc:sldMk cId="3116663153" sldId="1262"/>
            <ac:graphicFrameMk id="4" creationId="{20480E1A-10CC-D30C-75D6-57ECAB853BC9}"/>
          </ac:graphicFrameMkLst>
        </pc:graphicFrameChg>
        <pc:picChg chg="add mod">
          <ac:chgData name="Kristina Keller" userId="a2867ebb-0012-4eee-aea6-0c6cc9d8a658" providerId="ADAL" clId="{27C7E874-EFB9-42FD-BDED-051A9CA8E650}" dt="2022-05-31T22:32:55.097" v="5728"/>
          <ac:picMkLst>
            <pc:docMk/>
            <pc:sldMk cId="3116663153" sldId="1262"/>
            <ac:picMk id="15" creationId="{2D6C21EC-7D6D-2450-8A9A-D619F2A419C0}"/>
          </ac:picMkLst>
        </pc:picChg>
        <pc:picChg chg="add mod ord">
          <ac:chgData name="Kristina Keller" userId="a2867ebb-0012-4eee-aea6-0c6cc9d8a658" providerId="ADAL" clId="{27C7E874-EFB9-42FD-BDED-051A9CA8E650}" dt="2022-05-31T21:20:39.354" v="3514" actId="164"/>
          <ac:picMkLst>
            <pc:docMk/>
            <pc:sldMk cId="3116663153" sldId="1262"/>
            <ac:picMk id="21" creationId="{1E8D7D3D-0D8E-68F6-4C2B-C8CA57F89AA8}"/>
          </ac:picMkLst>
        </pc:picChg>
        <pc:picChg chg="add mod ord">
          <ac:chgData name="Kristina Keller" userId="a2867ebb-0012-4eee-aea6-0c6cc9d8a658" providerId="ADAL" clId="{27C7E874-EFB9-42FD-BDED-051A9CA8E650}" dt="2022-05-31T21:20:39.354" v="3514" actId="164"/>
          <ac:picMkLst>
            <pc:docMk/>
            <pc:sldMk cId="3116663153" sldId="1262"/>
            <ac:picMk id="23" creationId="{F71176FE-0C09-C264-C77C-D924478C1971}"/>
          </ac:picMkLst>
        </pc:picChg>
        <pc:picChg chg="add mod ord">
          <ac:chgData name="Kristina Keller" userId="a2867ebb-0012-4eee-aea6-0c6cc9d8a658" providerId="ADAL" clId="{27C7E874-EFB9-42FD-BDED-051A9CA8E650}" dt="2022-05-31T21:20:39.354" v="3514" actId="164"/>
          <ac:picMkLst>
            <pc:docMk/>
            <pc:sldMk cId="3116663153" sldId="1262"/>
            <ac:picMk id="25" creationId="{0DAFBAFB-F632-5082-1BC8-069B4BE24D94}"/>
          </ac:picMkLst>
        </pc:picChg>
        <pc:picChg chg="add del mod">
          <ac:chgData name="Kristina Keller" userId="a2867ebb-0012-4eee-aea6-0c6cc9d8a658" providerId="ADAL" clId="{27C7E874-EFB9-42FD-BDED-051A9CA8E650}" dt="2022-05-31T21:19:51.498" v="3492" actId="478"/>
          <ac:picMkLst>
            <pc:docMk/>
            <pc:sldMk cId="3116663153" sldId="1262"/>
            <ac:picMk id="27" creationId="{CE48AA90-DA5E-BDFE-CB3E-56D3CC96678B}"/>
          </ac:picMkLst>
        </pc:picChg>
      </pc:sldChg>
      <pc:sldChg chg="addSp delSp modSp new add mod">
        <pc:chgData name="Kristina Keller" userId="a2867ebb-0012-4eee-aea6-0c6cc9d8a658" providerId="ADAL" clId="{27C7E874-EFB9-42FD-BDED-051A9CA8E650}" dt="2022-05-31T22:32:55.791" v="5729"/>
        <pc:sldMkLst>
          <pc:docMk/>
          <pc:sldMk cId="1906982816" sldId="1263"/>
        </pc:sldMkLst>
        <pc:spChg chg="mod">
          <ac:chgData name="Kristina Keller" userId="a2867ebb-0012-4eee-aea6-0c6cc9d8a658" providerId="ADAL" clId="{27C7E874-EFB9-42FD-BDED-051A9CA8E650}" dt="2022-05-31T20:16:50.567" v="2482" actId="20577"/>
          <ac:spMkLst>
            <pc:docMk/>
            <pc:sldMk cId="1906982816" sldId="1263"/>
            <ac:spMk id="2" creationId="{2005668A-BA81-DFE9-1D7B-5AC98559DBE4}"/>
          </ac:spMkLst>
        </pc:spChg>
        <pc:spChg chg="mod">
          <ac:chgData name="Kristina Keller" userId="a2867ebb-0012-4eee-aea6-0c6cc9d8a658" providerId="ADAL" clId="{27C7E874-EFB9-42FD-BDED-051A9CA8E650}" dt="2022-05-31T20:15:49.962" v="2405" actId="948"/>
          <ac:spMkLst>
            <pc:docMk/>
            <pc:sldMk cId="1906982816" sldId="1263"/>
            <ac:spMk id="3" creationId="{9CE48552-DE61-69CA-3E83-F686DBC7D323}"/>
          </ac:spMkLst>
        </pc:spChg>
        <pc:spChg chg="add del mod modVis">
          <ac:chgData name="Kristina Keller" userId="a2867ebb-0012-4eee-aea6-0c6cc9d8a658" providerId="ADAL" clId="{27C7E874-EFB9-42FD-BDED-051A9CA8E650}" dt="2022-05-31T20:09:40.870" v="1628"/>
          <ac:spMkLst>
            <pc:docMk/>
            <pc:sldMk cId="1906982816" sldId="1263"/>
            <ac:spMk id="4" creationId="{780B782E-7923-B69B-E403-1AF64556262C}"/>
          </ac:spMkLst>
        </pc:spChg>
        <pc:spChg chg="add del mod modVis">
          <ac:chgData name="Kristina Keller" userId="a2867ebb-0012-4eee-aea6-0c6cc9d8a658" providerId="ADAL" clId="{27C7E874-EFB9-42FD-BDED-051A9CA8E650}" dt="2022-05-31T20:09:44.925" v="1689"/>
          <ac:spMkLst>
            <pc:docMk/>
            <pc:sldMk cId="1906982816" sldId="1263"/>
            <ac:spMk id="6" creationId="{3A7412D7-3884-9D08-0BE9-0CC8721D61A6}"/>
          </ac:spMkLst>
        </pc:spChg>
        <pc:spChg chg="add del mod modVis">
          <ac:chgData name="Kristina Keller" userId="a2867ebb-0012-4eee-aea6-0c6cc9d8a658" providerId="ADAL" clId="{27C7E874-EFB9-42FD-BDED-051A9CA8E650}" dt="2022-05-31T20:09:59.134" v="1752"/>
          <ac:spMkLst>
            <pc:docMk/>
            <pc:sldMk cId="1906982816" sldId="1263"/>
            <ac:spMk id="7" creationId="{2C2AB394-96AF-5A1C-723C-D5CB471D716E}"/>
          </ac:spMkLst>
        </pc:spChg>
        <pc:spChg chg="add del mod modVis">
          <ac:chgData name="Kristina Keller" userId="a2867ebb-0012-4eee-aea6-0c6cc9d8a658" providerId="ADAL" clId="{27C7E874-EFB9-42FD-BDED-051A9CA8E650}" dt="2022-05-31T20:10:00.062" v="1798"/>
          <ac:spMkLst>
            <pc:docMk/>
            <pc:sldMk cId="1906982816" sldId="1263"/>
            <ac:spMk id="8" creationId="{C0266857-C8BD-4B72-26A4-E408F8089371}"/>
          </ac:spMkLst>
        </pc:spChg>
        <pc:spChg chg="add del mod modVis">
          <ac:chgData name="Kristina Keller" userId="a2867ebb-0012-4eee-aea6-0c6cc9d8a658" providerId="ADAL" clId="{27C7E874-EFB9-42FD-BDED-051A9CA8E650}" dt="2022-05-31T20:10:05.835" v="1848"/>
          <ac:spMkLst>
            <pc:docMk/>
            <pc:sldMk cId="1906982816" sldId="1263"/>
            <ac:spMk id="9" creationId="{CAE7AF87-0F32-CAEC-4E17-DD4A538138AC}"/>
          </ac:spMkLst>
        </pc:spChg>
        <pc:spChg chg="add del mod modVis">
          <ac:chgData name="Kristina Keller" userId="a2867ebb-0012-4eee-aea6-0c6cc9d8a658" providerId="ADAL" clId="{27C7E874-EFB9-42FD-BDED-051A9CA8E650}" dt="2022-05-31T20:10:07.153" v="1891"/>
          <ac:spMkLst>
            <pc:docMk/>
            <pc:sldMk cId="1906982816" sldId="1263"/>
            <ac:spMk id="10" creationId="{16A58677-B8FD-830E-C7A7-8B14F3F3F7D4}"/>
          </ac:spMkLst>
        </pc:spChg>
        <pc:spChg chg="mod">
          <ac:chgData name="Kristina Keller" userId="a2867ebb-0012-4eee-aea6-0c6cc9d8a658" providerId="ADAL" clId="{27C7E874-EFB9-42FD-BDED-051A9CA8E650}" dt="2022-05-31T20:14:14.156" v="2110"/>
          <ac:spMkLst>
            <pc:docMk/>
            <pc:sldMk cId="1906982816" sldId="1263"/>
            <ac:spMk id="13" creationId="{C5A68EEA-4C5E-B484-CFA0-0654805A1D8E}"/>
          </ac:spMkLst>
        </pc:spChg>
        <pc:spChg chg="mod">
          <ac:chgData name="Kristina Keller" userId="a2867ebb-0012-4eee-aea6-0c6cc9d8a658" providerId="ADAL" clId="{27C7E874-EFB9-42FD-BDED-051A9CA8E650}" dt="2022-05-31T20:14:14.156" v="2110"/>
          <ac:spMkLst>
            <pc:docMk/>
            <pc:sldMk cId="1906982816" sldId="1263"/>
            <ac:spMk id="14" creationId="{0C918196-7138-211E-FC47-4EE21BFE69D0}"/>
          </ac:spMkLst>
        </pc:spChg>
        <pc:spChg chg="mod">
          <ac:chgData name="Kristina Keller" userId="a2867ebb-0012-4eee-aea6-0c6cc9d8a658" providerId="ADAL" clId="{27C7E874-EFB9-42FD-BDED-051A9CA8E650}" dt="2022-05-31T20:14:14.156" v="2110"/>
          <ac:spMkLst>
            <pc:docMk/>
            <pc:sldMk cId="1906982816" sldId="1263"/>
            <ac:spMk id="15" creationId="{C45B0EFD-D004-6CE9-E98B-A07CD38B9906}"/>
          </ac:spMkLst>
        </pc:spChg>
        <pc:spChg chg="mod">
          <ac:chgData name="Kristina Keller" userId="a2867ebb-0012-4eee-aea6-0c6cc9d8a658" providerId="ADAL" clId="{27C7E874-EFB9-42FD-BDED-051A9CA8E650}" dt="2022-05-31T20:14:14.156" v="2110"/>
          <ac:spMkLst>
            <pc:docMk/>
            <pc:sldMk cId="1906982816" sldId="1263"/>
            <ac:spMk id="16" creationId="{8094D01E-1FB4-AF29-9F99-3113439E8718}"/>
          </ac:spMkLst>
        </pc:spChg>
        <pc:spChg chg="mod">
          <ac:chgData name="Kristina Keller" userId="a2867ebb-0012-4eee-aea6-0c6cc9d8a658" providerId="ADAL" clId="{27C7E874-EFB9-42FD-BDED-051A9CA8E650}" dt="2022-05-31T20:14:14.156" v="2110"/>
          <ac:spMkLst>
            <pc:docMk/>
            <pc:sldMk cId="1906982816" sldId="1263"/>
            <ac:spMk id="17" creationId="{71C6C6AA-3E57-1B4E-557B-F1BFA35937BD}"/>
          </ac:spMkLst>
        </pc:spChg>
        <pc:spChg chg="add del mod modVis">
          <ac:chgData name="Kristina Keller" userId="a2867ebb-0012-4eee-aea6-0c6cc9d8a658" providerId="ADAL" clId="{27C7E874-EFB9-42FD-BDED-051A9CA8E650}" dt="2022-05-31T20:15:48.004" v="2357"/>
          <ac:spMkLst>
            <pc:docMk/>
            <pc:sldMk cId="1906982816" sldId="1263"/>
            <ac:spMk id="18" creationId="{23E94799-20AC-B0D7-5627-C7370777ED9F}"/>
          </ac:spMkLst>
        </pc:spChg>
        <pc:spChg chg="add del mod modVis">
          <ac:chgData name="Kristina Keller" userId="a2867ebb-0012-4eee-aea6-0c6cc9d8a658" providerId="ADAL" clId="{27C7E874-EFB9-42FD-BDED-051A9CA8E650}" dt="2022-05-31T20:15:48.811" v="2400"/>
          <ac:spMkLst>
            <pc:docMk/>
            <pc:sldMk cId="1906982816" sldId="1263"/>
            <ac:spMk id="19" creationId="{8848B8E6-4374-FB5E-6E3F-720EAA701450}"/>
          </ac:spMkLst>
        </pc:spChg>
        <pc:spChg chg="add del mod modVis">
          <ac:chgData name="Kristina Keller" userId="a2867ebb-0012-4eee-aea6-0c6cc9d8a658" providerId="ADAL" clId="{27C7E874-EFB9-42FD-BDED-051A9CA8E650}" dt="2022-05-31T20:15:49.995" v="2444"/>
          <ac:spMkLst>
            <pc:docMk/>
            <pc:sldMk cId="1906982816" sldId="1263"/>
            <ac:spMk id="20" creationId="{8A7138E4-C29B-E157-E01F-601326D0C234}"/>
          </ac:spMkLst>
        </pc:spChg>
        <pc:grpChg chg="add mod">
          <ac:chgData name="Kristina Keller" userId="a2867ebb-0012-4eee-aea6-0c6cc9d8a658" providerId="ADAL" clId="{27C7E874-EFB9-42FD-BDED-051A9CA8E650}" dt="2022-05-31T20:14:29.658" v="2116" actId="14100"/>
          <ac:grpSpMkLst>
            <pc:docMk/>
            <pc:sldMk cId="1906982816" sldId="1263"/>
            <ac:grpSpMk id="11" creationId="{695D82EE-71AA-1DFE-64BE-0FA229FA0608}"/>
          </ac:grpSpMkLst>
        </pc:grpChg>
        <pc:graphicFrameChg chg="add mod ord modVis replST">
          <ac:chgData name="Kristina Keller" userId="a2867ebb-0012-4eee-aea6-0c6cc9d8a658" providerId="ADAL" clId="{27C7E874-EFB9-42FD-BDED-051A9CA8E650}" dt="2022-05-31T20:15:49.998" v="2446"/>
          <ac:graphicFrameMkLst>
            <pc:docMk/>
            <pc:sldMk cId="1906982816" sldId="1263"/>
            <ac:graphicFrameMk id="5" creationId="{3FA385B6-4AB8-636C-0143-DD77C95BA75E}"/>
          </ac:graphicFrameMkLst>
        </pc:graphicFrameChg>
        <pc:graphicFrameChg chg="mod">
          <ac:chgData name="Kristina Keller" userId="a2867ebb-0012-4eee-aea6-0c6cc9d8a658" providerId="ADAL" clId="{27C7E874-EFB9-42FD-BDED-051A9CA8E650}" dt="2022-05-31T20:14:41.914" v="2119" actId="20577"/>
          <ac:graphicFrameMkLst>
            <pc:docMk/>
            <pc:sldMk cId="1906982816" sldId="1263"/>
            <ac:graphicFrameMk id="12" creationId="{A3B75B73-D022-9A65-9DC6-E38B1FD9E0E2}"/>
          </ac:graphicFrameMkLst>
        </pc:graphicFrameChg>
        <pc:picChg chg="add mod">
          <ac:chgData name="Kristina Keller" userId="a2867ebb-0012-4eee-aea6-0c6cc9d8a658" providerId="ADAL" clId="{27C7E874-EFB9-42FD-BDED-051A9CA8E650}" dt="2022-05-31T22:32:55.791" v="5729"/>
          <ac:picMkLst>
            <pc:docMk/>
            <pc:sldMk cId="1906982816" sldId="1263"/>
            <ac:picMk id="18" creationId="{42D31F66-E42D-7254-EFF7-779AB7D0A76E}"/>
          </ac:picMkLst>
        </pc:picChg>
      </pc:sldChg>
      <pc:sldChg chg="addSp delSp modSp new add mod">
        <pc:chgData name="Kristina Keller" userId="a2867ebb-0012-4eee-aea6-0c6cc9d8a658" providerId="ADAL" clId="{27C7E874-EFB9-42FD-BDED-051A9CA8E650}" dt="2022-05-31T22:32:57.440" v="5731"/>
        <pc:sldMkLst>
          <pc:docMk/>
          <pc:sldMk cId="1747174508" sldId="1264"/>
        </pc:sldMkLst>
        <pc:spChg chg="del">
          <ac:chgData name="Kristina Keller" userId="a2867ebb-0012-4eee-aea6-0c6cc9d8a658" providerId="ADAL" clId="{27C7E874-EFB9-42FD-BDED-051A9CA8E650}" dt="2022-05-31T20:19:33.112" v="2510" actId="478"/>
          <ac:spMkLst>
            <pc:docMk/>
            <pc:sldMk cId="1747174508" sldId="1264"/>
            <ac:spMk id="2" creationId="{2D9E6C9D-C847-3030-55B9-0254EDD76BBE}"/>
          </ac:spMkLst>
        </pc:spChg>
        <pc:spChg chg="del">
          <ac:chgData name="Kristina Keller" userId="a2867ebb-0012-4eee-aea6-0c6cc9d8a658" providerId="ADAL" clId="{27C7E874-EFB9-42FD-BDED-051A9CA8E650}" dt="2022-05-31T20:19:55.068" v="2622" actId="478"/>
          <ac:spMkLst>
            <pc:docMk/>
            <pc:sldMk cId="1747174508" sldId="1264"/>
            <ac:spMk id="3" creationId="{2F965C41-8954-0A78-1209-1B55B24A4388}"/>
          </ac:spMkLst>
        </pc:spChg>
        <pc:spChg chg="mod">
          <ac:chgData name="Kristina Keller" userId="a2867ebb-0012-4eee-aea6-0c6cc9d8a658" providerId="ADAL" clId="{27C7E874-EFB9-42FD-BDED-051A9CA8E650}" dt="2022-05-31T20:19:52.865" v="2580" actId="948"/>
          <ac:spMkLst>
            <pc:docMk/>
            <pc:sldMk cId="1747174508" sldId="1264"/>
            <ac:spMk id="4" creationId="{AD13B9F5-F812-9B3C-2C33-EA2E5085ED64}"/>
          </ac:spMkLst>
        </pc:spChg>
        <pc:spChg chg="add del mod modVis">
          <ac:chgData name="Kristina Keller" userId="a2867ebb-0012-4eee-aea6-0c6cc9d8a658" providerId="ADAL" clId="{27C7E874-EFB9-42FD-BDED-051A9CA8E650}" dt="2022-05-31T20:19:49.106" v="2551"/>
          <ac:spMkLst>
            <pc:docMk/>
            <pc:sldMk cId="1747174508" sldId="1264"/>
            <ac:spMk id="6" creationId="{279386EC-FACF-4F0C-EF11-D25CDE1234EA}"/>
          </ac:spMkLst>
        </pc:spChg>
        <pc:spChg chg="add del mod modVis">
          <ac:chgData name="Kristina Keller" userId="a2867ebb-0012-4eee-aea6-0c6cc9d8a658" providerId="ADAL" clId="{27C7E874-EFB9-42FD-BDED-051A9CA8E650}" dt="2022-05-31T20:19:52.897" v="2619"/>
          <ac:spMkLst>
            <pc:docMk/>
            <pc:sldMk cId="1747174508" sldId="1264"/>
            <ac:spMk id="8" creationId="{729FACD7-1C8D-15AF-6F45-A1AC8A80CAFC}"/>
          </ac:spMkLst>
        </pc:spChg>
        <pc:graphicFrameChg chg="add mod ord modVis replST">
          <ac:chgData name="Kristina Keller" userId="a2867ebb-0012-4eee-aea6-0c6cc9d8a658" providerId="ADAL" clId="{27C7E874-EFB9-42FD-BDED-051A9CA8E650}" dt="2022-05-31T20:19:52.900" v="2621"/>
          <ac:graphicFrameMkLst>
            <pc:docMk/>
            <pc:sldMk cId="1747174508" sldId="1264"/>
            <ac:graphicFrameMk id="7" creationId="{3D0B5624-7117-9447-C7CA-CC83F4D1F9ED}"/>
          </ac:graphicFrameMkLst>
        </pc:graphicFrameChg>
        <pc:picChg chg="add mod">
          <ac:chgData name="Kristina Keller" userId="a2867ebb-0012-4eee-aea6-0c6cc9d8a658" providerId="ADAL" clId="{27C7E874-EFB9-42FD-BDED-051A9CA8E650}" dt="2022-05-31T20:19:57.373" v="2623" actId="1076"/>
          <ac:picMkLst>
            <pc:docMk/>
            <pc:sldMk cId="1747174508" sldId="1264"/>
            <ac:picMk id="5" creationId="{5164DBF1-0A52-467C-8C7A-6FE8B68C6043}"/>
          </ac:picMkLst>
        </pc:picChg>
        <pc:picChg chg="add mod">
          <ac:chgData name="Kristina Keller" userId="a2867ebb-0012-4eee-aea6-0c6cc9d8a658" providerId="ADAL" clId="{27C7E874-EFB9-42FD-BDED-051A9CA8E650}" dt="2022-05-31T22:32:57.440" v="5731"/>
          <ac:picMkLst>
            <pc:docMk/>
            <pc:sldMk cId="1747174508" sldId="1264"/>
            <ac:picMk id="6" creationId="{A2EFF592-83ED-BF98-1260-FFB544D6FBB5}"/>
          </ac:picMkLst>
        </pc:picChg>
      </pc:sldChg>
      <pc:sldChg chg="addSp delSp modSp new add del mod">
        <pc:chgData name="Kristina Keller" userId="a2867ebb-0012-4eee-aea6-0c6cc9d8a658" providerId="ADAL" clId="{27C7E874-EFB9-42FD-BDED-051A9CA8E650}" dt="2022-05-31T20:15:53.294" v="2447" actId="47"/>
        <pc:sldMkLst>
          <pc:docMk/>
          <pc:sldMk cId="2522224720" sldId="1264"/>
        </pc:sldMkLst>
        <pc:spChg chg="mod">
          <ac:chgData name="Kristina Keller" userId="a2867ebb-0012-4eee-aea6-0c6cc9d8a658" providerId="ADAL" clId="{27C7E874-EFB9-42FD-BDED-051A9CA8E650}" dt="2022-05-31T20:15:08.784" v="2156" actId="948"/>
          <ac:spMkLst>
            <pc:docMk/>
            <pc:sldMk cId="2522224720" sldId="1264"/>
            <ac:spMk id="3" creationId="{70F0BEBB-A70E-FC7A-BDE2-74B85043C773}"/>
          </ac:spMkLst>
        </pc:spChg>
        <pc:spChg chg="add del mod modVis">
          <ac:chgData name="Kristina Keller" userId="a2867ebb-0012-4eee-aea6-0c6cc9d8a658" providerId="ADAL" clId="{27C7E874-EFB9-42FD-BDED-051A9CA8E650}" dt="2022-05-31T20:15:08.813" v="2195"/>
          <ac:spMkLst>
            <pc:docMk/>
            <pc:sldMk cId="2522224720" sldId="1264"/>
            <ac:spMk id="5" creationId="{FBAA657C-FE37-CDD1-935A-27CBDFCE7DA3}"/>
          </ac:spMkLst>
        </pc:spChg>
        <pc:graphicFrameChg chg="add mod ord modVis replST">
          <ac:chgData name="Kristina Keller" userId="a2867ebb-0012-4eee-aea6-0c6cc9d8a658" providerId="ADAL" clId="{27C7E874-EFB9-42FD-BDED-051A9CA8E650}" dt="2022-05-31T20:15:08.816" v="2197"/>
          <ac:graphicFrameMkLst>
            <pc:docMk/>
            <pc:sldMk cId="2522224720" sldId="1264"/>
            <ac:graphicFrameMk id="4" creationId="{1BCE4CC1-C27B-9E92-FD36-014B56AFDCD6}"/>
          </ac:graphicFrameMkLst>
        </pc:graphicFrameChg>
      </pc:sldChg>
      <pc:sldChg chg="addSp modSp new add del mod">
        <pc:chgData name="Kristina Keller" userId="a2867ebb-0012-4eee-aea6-0c6cc9d8a658" providerId="ADAL" clId="{27C7E874-EFB9-42FD-BDED-051A9CA8E650}" dt="2022-05-31T21:32:16.899" v="3661" actId="47"/>
        <pc:sldMkLst>
          <pc:docMk/>
          <pc:sldMk cId="2799796736" sldId="1265"/>
        </pc:sldMkLst>
        <pc:grpChg chg="add mod">
          <ac:chgData name="Kristina Keller" userId="a2867ebb-0012-4eee-aea6-0c6cc9d8a658" providerId="ADAL" clId="{27C7E874-EFB9-42FD-BDED-051A9CA8E650}" dt="2022-05-31T21:31:22.143" v="3647" actId="164"/>
          <ac:grpSpMkLst>
            <pc:docMk/>
            <pc:sldMk cId="2799796736" sldId="1265"/>
            <ac:grpSpMk id="9" creationId="{4B6694B4-3D48-40D1-ABD8-707EC96A18E3}"/>
          </ac:grpSpMkLst>
        </pc:grpChg>
        <pc:picChg chg="add mod">
          <ac:chgData name="Kristina Keller" userId="a2867ebb-0012-4eee-aea6-0c6cc9d8a658" providerId="ADAL" clId="{27C7E874-EFB9-42FD-BDED-051A9CA8E650}" dt="2022-05-31T21:31:22.143" v="3647" actId="164"/>
          <ac:picMkLst>
            <pc:docMk/>
            <pc:sldMk cId="2799796736" sldId="1265"/>
            <ac:picMk id="4" creationId="{25DB041E-D03B-483E-DC5C-2AA2836BFCB6}"/>
          </ac:picMkLst>
        </pc:picChg>
        <pc:picChg chg="add mod">
          <ac:chgData name="Kristina Keller" userId="a2867ebb-0012-4eee-aea6-0c6cc9d8a658" providerId="ADAL" clId="{27C7E874-EFB9-42FD-BDED-051A9CA8E650}" dt="2022-05-31T21:31:22.143" v="3647" actId="164"/>
          <ac:picMkLst>
            <pc:docMk/>
            <pc:sldMk cId="2799796736" sldId="1265"/>
            <ac:picMk id="5" creationId="{24C926AE-8849-485F-2337-5A02B34C6B54}"/>
          </ac:picMkLst>
        </pc:picChg>
        <pc:picChg chg="add mod">
          <ac:chgData name="Kristina Keller" userId="a2867ebb-0012-4eee-aea6-0c6cc9d8a658" providerId="ADAL" clId="{27C7E874-EFB9-42FD-BDED-051A9CA8E650}" dt="2022-05-31T21:31:22.143" v="3647" actId="164"/>
          <ac:picMkLst>
            <pc:docMk/>
            <pc:sldMk cId="2799796736" sldId="1265"/>
            <ac:picMk id="6" creationId="{DAB54824-32BC-4336-9929-345C4F3A1B99}"/>
          </ac:picMkLst>
        </pc:picChg>
        <pc:picChg chg="add mod">
          <ac:chgData name="Kristina Keller" userId="a2867ebb-0012-4eee-aea6-0c6cc9d8a658" providerId="ADAL" clId="{27C7E874-EFB9-42FD-BDED-051A9CA8E650}" dt="2022-05-31T21:31:22.143" v="3647" actId="164"/>
          <ac:picMkLst>
            <pc:docMk/>
            <pc:sldMk cId="2799796736" sldId="1265"/>
            <ac:picMk id="7" creationId="{7A06AAC4-9CE8-EE0F-1C30-9DF91AB68BC3}"/>
          </ac:picMkLst>
        </pc:picChg>
        <pc:picChg chg="add mod">
          <ac:chgData name="Kristina Keller" userId="a2867ebb-0012-4eee-aea6-0c6cc9d8a658" providerId="ADAL" clId="{27C7E874-EFB9-42FD-BDED-051A9CA8E650}" dt="2022-05-31T21:31:22.143" v="3647" actId="164"/>
          <ac:picMkLst>
            <pc:docMk/>
            <pc:sldMk cId="2799796736" sldId="1265"/>
            <ac:picMk id="8" creationId="{D7C949CE-CB7A-97D4-0D33-FBA8E5D40937}"/>
          </ac:picMkLst>
        </pc:picChg>
      </pc:sldChg>
      <pc:sldChg chg="addSp delSp modSp new add mod">
        <pc:chgData name="Kristina Keller" userId="a2867ebb-0012-4eee-aea6-0c6cc9d8a658" providerId="ADAL" clId="{27C7E874-EFB9-42FD-BDED-051A9CA8E650}" dt="2022-06-02T17:51:36.301" v="6840" actId="1076"/>
        <pc:sldMkLst>
          <pc:docMk/>
          <pc:sldMk cId="3452630702" sldId="1265"/>
        </pc:sldMkLst>
        <pc:spChg chg="mod ord">
          <ac:chgData name="Kristina Keller" userId="a2867ebb-0012-4eee-aea6-0c6cc9d8a658" providerId="ADAL" clId="{27C7E874-EFB9-42FD-BDED-051A9CA8E650}" dt="2022-06-02T17:51:27.228" v="6839" actId="20577"/>
          <ac:spMkLst>
            <pc:docMk/>
            <pc:sldMk cId="3452630702" sldId="1265"/>
            <ac:spMk id="2" creationId="{24262B20-D9BC-3E86-935F-7830BDBF3B0E}"/>
          </ac:spMkLst>
        </pc:spChg>
        <pc:spChg chg="del mod ord">
          <ac:chgData name="Kristina Keller" userId="a2867ebb-0012-4eee-aea6-0c6cc9d8a658" providerId="ADAL" clId="{27C7E874-EFB9-42FD-BDED-051A9CA8E650}" dt="2022-05-31T21:48:23.070" v="4294" actId="478"/>
          <ac:spMkLst>
            <pc:docMk/>
            <pc:sldMk cId="3452630702" sldId="1265"/>
            <ac:spMk id="3" creationId="{DC2306AA-8B09-72A6-C34A-704A7FE37C9F}"/>
          </ac:spMkLst>
        </pc:spChg>
        <pc:spChg chg="mod ord">
          <ac:chgData name="Kristina Keller" userId="a2867ebb-0012-4eee-aea6-0c6cc9d8a658" providerId="ADAL" clId="{27C7E874-EFB9-42FD-BDED-051A9CA8E650}" dt="2022-05-31T21:48:26.141" v="4297" actId="948"/>
          <ac:spMkLst>
            <pc:docMk/>
            <pc:sldMk cId="3452630702" sldId="1265"/>
            <ac:spMk id="4" creationId="{5386D549-22D7-DFCB-863E-E7EB747E3C53}"/>
          </ac:spMkLst>
        </pc:spChg>
        <pc:spChg chg="add del mod modVis">
          <ac:chgData name="Kristina Keller" userId="a2867ebb-0012-4eee-aea6-0c6cc9d8a658" providerId="ADAL" clId="{27C7E874-EFB9-42FD-BDED-051A9CA8E650}" dt="2022-05-31T21:33:21.250" v="3731"/>
          <ac:spMkLst>
            <pc:docMk/>
            <pc:sldMk cId="3452630702" sldId="1265"/>
            <ac:spMk id="6" creationId="{193DEAD4-3B09-F491-848C-3AEC9D72AC4E}"/>
          </ac:spMkLst>
        </pc:spChg>
        <pc:spChg chg="add del mod modVis">
          <ac:chgData name="Kristina Keller" userId="a2867ebb-0012-4eee-aea6-0c6cc9d8a658" providerId="ADAL" clId="{27C7E874-EFB9-42FD-BDED-051A9CA8E650}" dt="2022-05-31T21:33:21.966" v="3775"/>
          <ac:spMkLst>
            <pc:docMk/>
            <pc:sldMk cId="3452630702" sldId="1265"/>
            <ac:spMk id="7" creationId="{0C85DFA8-0BA9-1D53-A05C-098D5B4BFC12}"/>
          </ac:spMkLst>
        </pc:spChg>
        <pc:spChg chg="add del mod modVis">
          <ac:chgData name="Kristina Keller" userId="a2867ebb-0012-4eee-aea6-0c6cc9d8a658" providerId="ADAL" clId="{27C7E874-EFB9-42FD-BDED-051A9CA8E650}" dt="2022-05-31T21:40:14.298" v="4119"/>
          <ac:spMkLst>
            <pc:docMk/>
            <pc:sldMk cId="3452630702" sldId="1265"/>
            <ac:spMk id="8" creationId="{7A00FA3A-C874-D55C-B81B-2E9EB4A0D07B}"/>
          </ac:spMkLst>
        </pc:spChg>
        <pc:spChg chg="add del mod modVis">
          <ac:chgData name="Kristina Keller" userId="a2867ebb-0012-4eee-aea6-0c6cc9d8a658" providerId="ADAL" clId="{27C7E874-EFB9-42FD-BDED-051A9CA8E650}" dt="2022-05-31T21:33:23.032" v="3818"/>
          <ac:spMkLst>
            <pc:docMk/>
            <pc:sldMk cId="3452630702" sldId="1265"/>
            <ac:spMk id="8" creationId="{F6866010-4C00-2ED5-A783-5D8B4F9A36ED}"/>
          </ac:spMkLst>
        </pc:spChg>
        <pc:spChg chg="add del mod modVis">
          <ac:chgData name="Kristina Keller" userId="a2867ebb-0012-4eee-aea6-0c6cc9d8a658" providerId="ADAL" clId="{27C7E874-EFB9-42FD-BDED-051A9CA8E650}" dt="2022-05-31T21:33:26.448" v="3867"/>
          <ac:spMkLst>
            <pc:docMk/>
            <pc:sldMk cId="3452630702" sldId="1265"/>
            <ac:spMk id="9" creationId="{1B9C2E35-2D9D-E10A-65C5-C211F0F0143B}"/>
          </ac:spMkLst>
        </pc:spChg>
        <pc:spChg chg="add del mod modVis">
          <ac:chgData name="Kristina Keller" userId="a2867ebb-0012-4eee-aea6-0c6cc9d8a658" providerId="ADAL" clId="{27C7E874-EFB9-42FD-BDED-051A9CA8E650}" dt="2022-05-31T21:48:26.177" v="4336"/>
          <ac:spMkLst>
            <pc:docMk/>
            <pc:sldMk cId="3452630702" sldId="1265"/>
            <ac:spMk id="10" creationId="{3EE0D02A-208A-7031-1C8A-0BB48B153094}"/>
          </ac:spMkLst>
        </pc:spChg>
        <pc:spChg chg="add del mod modVis">
          <ac:chgData name="Kristina Keller" userId="a2867ebb-0012-4eee-aea6-0c6cc9d8a658" providerId="ADAL" clId="{27C7E874-EFB9-42FD-BDED-051A9CA8E650}" dt="2022-05-31T21:33:27.662" v="3911"/>
          <ac:spMkLst>
            <pc:docMk/>
            <pc:sldMk cId="3452630702" sldId="1265"/>
            <ac:spMk id="10" creationId="{B4CDE175-936A-87D5-7952-D7C8090BA4B1}"/>
          </ac:spMkLst>
        </pc:spChg>
        <pc:spChg chg="add del mod modVis">
          <ac:chgData name="Kristina Keller" userId="a2867ebb-0012-4eee-aea6-0c6cc9d8a658" providerId="ADAL" clId="{27C7E874-EFB9-42FD-BDED-051A9CA8E650}" dt="2022-05-31T21:33:31.018" v="3968"/>
          <ac:spMkLst>
            <pc:docMk/>
            <pc:sldMk cId="3452630702" sldId="1265"/>
            <ac:spMk id="11" creationId="{95B9361B-80EF-3E6D-0885-54C3B91DEAAB}"/>
          </ac:spMkLst>
        </pc:spChg>
        <pc:spChg chg="add mod">
          <ac:chgData name="Kristina Keller" userId="a2867ebb-0012-4eee-aea6-0c6cc9d8a658" providerId="ADAL" clId="{27C7E874-EFB9-42FD-BDED-051A9CA8E650}" dt="2022-06-02T17:51:36.301" v="6840" actId="1076"/>
          <ac:spMkLst>
            <pc:docMk/>
            <pc:sldMk cId="3452630702" sldId="1265"/>
            <ac:spMk id="14" creationId="{B47248FC-B885-1956-C0B5-8DABC9AD0D53}"/>
          </ac:spMkLst>
        </pc:spChg>
        <pc:grpChg chg="add mod">
          <ac:chgData name="Kristina Keller" userId="a2867ebb-0012-4eee-aea6-0c6cc9d8a658" providerId="ADAL" clId="{27C7E874-EFB9-42FD-BDED-051A9CA8E650}" dt="2022-05-31T21:48:55.785" v="4345" actId="1076"/>
          <ac:grpSpMkLst>
            <pc:docMk/>
            <pc:sldMk cId="3452630702" sldId="1265"/>
            <ac:grpSpMk id="9" creationId="{316A16F2-ED3A-1E60-F2C0-7EF994FE0094}"/>
          </ac:grpSpMkLst>
        </pc:grpChg>
        <pc:graphicFrameChg chg="add mod ord modVis replST">
          <ac:chgData name="Kristina Keller" userId="a2867ebb-0012-4eee-aea6-0c6cc9d8a658" providerId="ADAL" clId="{27C7E874-EFB9-42FD-BDED-051A9CA8E650}" dt="2022-05-31T21:48:26.180" v="4338"/>
          <ac:graphicFrameMkLst>
            <pc:docMk/>
            <pc:sldMk cId="3452630702" sldId="1265"/>
            <ac:graphicFrameMk id="5" creationId="{64A2D4EC-2512-1E79-15BB-BE5DB925C854}"/>
          </ac:graphicFrameMkLst>
        </pc:graphicFrameChg>
        <pc:picChg chg="add del mod ord">
          <ac:chgData name="Kristina Keller" userId="a2867ebb-0012-4eee-aea6-0c6cc9d8a658" providerId="ADAL" clId="{27C7E874-EFB9-42FD-BDED-051A9CA8E650}" dt="2022-05-31T21:43:06.194" v="4140" actId="478"/>
          <ac:picMkLst>
            <pc:docMk/>
            <pc:sldMk cId="3452630702" sldId="1265"/>
            <ac:picMk id="7" creationId="{D87B8FDA-57E5-65E6-90FC-2B6C4DFAB8F5}"/>
          </ac:picMkLst>
        </pc:picChg>
        <pc:picChg chg="add mod ord">
          <ac:chgData name="Kristina Keller" userId="a2867ebb-0012-4eee-aea6-0c6cc9d8a658" providerId="ADAL" clId="{27C7E874-EFB9-42FD-BDED-051A9CA8E650}" dt="2022-05-31T21:44:50.269" v="4188" actId="164"/>
          <ac:picMkLst>
            <pc:docMk/>
            <pc:sldMk cId="3452630702" sldId="1265"/>
            <ac:picMk id="13" creationId="{F0387913-F297-53A1-12B6-60BD4B021720}"/>
          </ac:picMkLst>
        </pc:picChg>
        <pc:picChg chg="add mod">
          <ac:chgData name="Kristina Keller" userId="a2867ebb-0012-4eee-aea6-0c6cc9d8a658" providerId="ADAL" clId="{27C7E874-EFB9-42FD-BDED-051A9CA8E650}" dt="2022-05-31T22:32:58.241" v="5732"/>
          <ac:picMkLst>
            <pc:docMk/>
            <pc:sldMk cId="3452630702" sldId="1265"/>
            <ac:picMk id="15" creationId="{E85AC8C2-B1BA-8578-035C-A695A15B56E1}"/>
          </ac:picMkLst>
        </pc:picChg>
        <pc:picChg chg="add del mod">
          <ac:chgData name="Kristina Keller" userId="a2867ebb-0012-4eee-aea6-0c6cc9d8a658" providerId="ADAL" clId="{27C7E874-EFB9-42FD-BDED-051A9CA8E650}" dt="2022-05-31T21:37:23.789" v="4046" actId="478"/>
          <ac:picMkLst>
            <pc:docMk/>
            <pc:sldMk cId="3452630702" sldId="1265"/>
            <ac:picMk id="15" creationId="{E93432F4-2A4B-2786-25A3-8C3754CEBEFC}"/>
          </ac:picMkLst>
        </pc:picChg>
        <pc:picChg chg="add del mod">
          <ac:chgData name="Kristina Keller" userId="a2867ebb-0012-4eee-aea6-0c6cc9d8a658" providerId="ADAL" clId="{27C7E874-EFB9-42FD-BDED-051A9CA8E650}" dt="2022-05-31T21:37:29.500" v="4050" actId="478"/>
          <ac:picMkLst>
            <pc:docMk/>
            <pc:sldMk cId="3452630702" sldId="1265"/>
            <ac:picMk id="17" creationId="{4979224D-5B03-33D2-463E-E09DDC115FD1}"/>
          </ac:picMkLst>
        </pc:picChg>
        <pc:picChg chg="add mod ord">
          <ac:chgData name="Kristina Keller" userId="a2867ebb-0012-4eee-aea6-0c6cc9d8a658" providerId="ADAL" clId="{27C7E874-EFB9-42FD-BDED-051A9CA8E650}" dt="2022-05-31T21:44:50.269" v="4188" actId="164"/>
          <ac:picMkLst>
            <pc:docMk/>
            <pc:sldMk cId="3452630702" sldId="1265"/>
            <ac:picMk id="19" creationId="{0BFA5B00-3FC3-B3E4-807B-A5D08AE7246A}"/>
          </ac:picMkLst>
        </pc:picChg>
        <pc:picChg chg="add del">
          <ac:chgData name="Kristina Keller" userId="a2867ebb-0012-4eee-aea6-0c6cc9d8a658" providerId="ADAL" clId="{27C7E874-EFB9-42FD-BDED-051A9CA8E650}" dt="2022-05-31T21:38:49.847" v="4057" actId="478"/>
          <ac:picMkLst>
            <pc:docMk/>
            <pc:sldMk cId="3452630702" sldId="1265"/>
            <ac:picMk id="21" creationId="{7B7CE838-A064-C7DC-817B-9A53DAC4A30E}"/>
          </ac:picMkLst>
        </pc:picChg>
        <pc:picChg chg="add del">
          <ac:chgData name="Kristina Keller" userId="a2867ebb-0012-4eee-aea6-0c6cc9d8a658" providerId="ADAL" clId="{27C7E874-EFB9-42FD-BDED-051A9CA8E650}" dt="2022-05-31T21:39:54.911" v="4060" actId="478"/>
          <ac:picMkLst>
            <pc:docMk/>
            <pc:sldMk cId="3452630702" sldId="1265"/>
            <ac:picMk id="23" creationId="{6C19A637-E4CE-209A-2A74-1545CEFA5493}"/>
          </ac:picMkLst>
        </pc:picChg>
      </pc:sldChg>
      <pc:sldChg chg="modSp add mod">
        <pc:chgData name="Kristina Keller" userId="a2867ebb-0012-4eee-aea6-0c6cc9d8a658" providerId="ADAL" clId="{27C7E874-EFB9-42FD-BDED-051A9CA8E650}" dt="2022-05-31T21:52:03.212" v="4782" actId="20577"/>
        <pc:sldMkLst>
          <pc:docMk/>
          <pc:sldMk cId="2649256274" sldId="1266"/>
        </pc:sldMkLst>
        <pc:spChg chg="mod">
          <ac:chgData name="Kristina Keller" userId="a2867ebb-0012-4eee-aea6-0c6cc9d8a658" providerId="ADAL" clId="{27C7E874-EFB9-42FD-BDED-051A9CA8E650}" dt="2022-05-31T21:52:03.212" v="4782" actId="20577"/>
          <ac:spMkLst>
            <pc:docMk/>
            <pc:sldMk cId="2649256274" sldId="1266"/>
            <ac:spMk id="5" creationId="{00000000-0000-0000-0000-000000000000}"/>
          </ac:spMkLst>
        </pc:spChg>
      </pc:sldChg>
      <pc:sldChg chg="addSp delSp modSp add mod">
        <pc:chgData name="Kristina Keller" userId="a2867ebb-0012-4eee-aea6-0c6cc9d8a658" providerId="ADAL" clId="{27C7E874-EFB9-42FD-BDED-051A9CA8E650}" dt="2022-06-02T17:51:02.158" v="6838" actId="20577"/>
        <pc:sldMkLst>
          <pc:docMk/>
          <pc:sldMk cId="4184854307" sldId="1267"/>
        </pc:sldMkLst>
        <pc:spChg chg="add del mod modVis">
          <ac:chgData name="Kristina Keller" userId="a2867ebb-0012-4eee-aea6-0c6cc9d8a658" providerId="ADAL" clId="{27C7E874-EFB9-42FD-BDED-051A9CA8E650}" dt="2022-05-31T21:51:49.607" v="4493"/>
          <ac:spMkLst>
            <pc:docMk/>
            <pc:sldMk cId="4184854307" sldId="1267"/>
            <ac:spMk id="2" creationId="{16974A70-320A-B783-C34E-C2EE158AAFE5}"/>
          </ac:spMkLst>
        </pc:spChg>
        <pc:spChg chg="add del mod modVis">
          <ac:chgData name="Kristina Keller" userId="a2867ebb-0012-4eee-aea6-0c6cc9d8a658" providerId="ADAL" clId="{27C7E874-EFB9-42FD-BDED-051A9CA8E650}" dt="2022-06-02T17:40:27.463" v="6013"/>
          <ac:spMkLst>
            <pc:docMk/>
            <pc:sldMk cId="4184854307" sldId="1267"/>
            <ac:spMk id="2" creationId="{35EBFAB0-3E83-51C4-0864-392D329DB743}"/>
          </ac:spMkLst>
        </pc:spChg>
        <pc:spChg chg="add del mod modVis">
          <ac:chgData name="Kristina Keller" userId="a2867ebb-0012-4eee-aea6-0c6cc9d8a658" providerId="ADAL" clId="{27C7E874-EFB9-42FD-BDED-051A9CA8E650}" dt="2022-06-02T17:40:28.413" v="6057"/>
          <ac:spMkLst>
            <pc:docMk/>
            <pc:sldMk cId="4184854307" sldId="1267"/>
            <ac:spMk id="3" creationId="{4A038158-81BE-A83A-84EF-99D7AAC6ECE1}"/>
          </ac:spMkLst>
        </pc:spChg>
        <pc:spChg chg="add del mod modVis">
          <ac:chgData name="Kristina Keller" userId="a2867ebb-0012-4eee-aea6-0c6cc9d8a658" providerId="ADAL" clId="{27C7E874-EFB9-42FD-BDED-051A9CA8E650}" dt="2022-05-31T21:51:51.233" v="4541"/>
          <ac:spMkLst>
            <pc:docMk/>
            <pc:sldMk cId="4184854307" sldId="1267"/>
            <ac:spMk id="3" creationId="{B5B6AF69-0C2A-1276-8E50-D312A8C7FBA8}"/>
          </ac:spMkLst>
        </pc:spChg>
        <pc:spChg chg="mod">
          <ac:chgData name="Kristina Keller" userId="a2867ebb-0012-4eee-aea6-0c6cc9d8a658" providerId="ADAL" clId="{27C7E874-EFB9-42FD-BDED-051A9CA8E650}" dt="2022-06-02T17:40:41.322" v="6259" actId="948"/>
          <ac:spMkLst>
            <pc:docMk/>
            <pc:sldMk cId="4184854307" sldId="1267"/>
            <ac:spMk id="4" creationId="{330177BF-920A-9D84-8147-B06D843D0CA5}"/>
          </ac:spMkLst>
        </pc:spChg>
        <pc:spChg chg="mod">
          <ac:chgData name="Kristina Keller" userId="a2867ebb-0012-4eee-aea6-0c6cc9d8a658" providerId="ADAL" clId="{27C7E874-EFB9-42FD-BDED-051A9CA8E650}" dt="2022-06-02T17:51:02.158" v="6838" actId="20577"/>
          <ac:spMkLst>
            <pc:docMk/>
            <pc:sldMk cId="4184854307" sldId="1267"/>
            <ac:spMk id="5" creationId="{FF4AB304-C1EA-F00C-191B-424E264000BA}"/>
          </ac:spMkLst>
        </pc:spChg>
        <pc:spChg chg="add del mod modVis">
          <ac:chgData name="Kristina Keller" userId="a2867ebb-0012-4eee-aea6-0c6cc9d8a658" providerId="ADAL" clId="{27C7E874-EFB9-42FD-BDED-051A9CA8E650}" dt="2022-06-02T17:40:29.775" v="6100"/>
          <ac:spMkLst>
            <pc:docMk/>
            <pc:sldMk cId="4184854307" sldId="1267"/>
            <ac:spMk id="7" creationId="{587D3449-45AF-F895-914C-036B8790407B}"/>
          </ac:spMkLst>
        </pc:spChg>
        <pc:spChg chg="add del mod modVis">
          <ac:chgData name="Kristina Keller" userId="a2867ebb-0012-4eee-aea6-0c6cc9d8a658" providerId="ADAL" clId="{27C7E874-EFB9-42FD-BDED-051A9CA8E650}" dt="2022-05-31T21:51:52.188" v="4586"/>
          <ac:spMkLst>
            <pc:docMk/>
            <pc:sldMk cId="4184854307" sldId="1267"/>
            <ac:spMk id="7" creationId="{6EB39C20-C814-5913-BB1D-5AE2BF2E9DAB}"/>
          </ac:spMkLst>
        </pc:spChg>
        <pc:spChg chg="add del mod modVis">
          <ac:chgData name="Kristina Keller" userId="a2867ebb-0012-4eee-aea6-0c6cc9d8a658" providerId="ADAL" clId="{27C7E874-EFB9-42FD-BDED-051A9CA8E650}" dt="2022-06-02T17:40:34.775" v="6143"/>
          <ac:spMkLst>
            <pc:docMk/>
            <pc:sldMk cId="4184854307" sldId="1267"/>
            <ac:spMk id="8" creationId="{7E9395B7-F7E5-CE69-8906-EA72CFE07C96}"/>
          </ac:spMkLst>
        </pc:spChg>
        <pc:spChg chg="add del mod modVis">
          <ac:chgData name="Kristina Keller" userId="a2867ebb-0012-4eee-aea6-0c6cc9d8a658" providerId="ADAL" clId="{27C7E874-EFB9-42FD-BDED-051A9CA8E650}" dt="2022-05-31T21:51:52.981" v="4629"/>
          <ac:spMkLst>
            <pc:docMk/>
            <pc:sldMk cId="4184854307" sldId="1267"/>
            <ac:spMk id="8" creationId="{CD775977-F8F6-D58A-C097-0C775E0190F8}"/>
          </ac:spMkLst>
        </pc:spChg>
        <pc:spChg chg="add del mod modVis">
          <ac:chgData name="Kristina Keller" userId="a2867ebb-0012-4eee-aea6-0c6cc9d8a658" providerId="ADAL" clId="{27C7E874-EFB9-42FD-BDED-051A9CA8E650}" dt="2022-05-31T21:51:53.992" v="4673"/>
          <ac:spMkLst>
            <pc:docMk/>
            <pc:sldMk cId="4184854307" sldId="1267"/>
            <ac:spMk id="9" creationId="{2C58CAF4-7DD6-444C-9FEB-2C934DED4691}"/>
          </ac:spMkLst>
        </pc:spChg>
        <pc:spChg chg="add del mod modVis">
          <ac:chgData name="Kristina Keller" userId="a2867ebb-0012-4eee-aea6-0c6cc9d8a658" providerId="ADAL" clId="{27C7E874-EFB9-42FD-BDED-051A9CA8E650}" dt="2022-06-02T17:40:35.097" v="6186"/>
          <ac:spMkLst>
            <pc:docMk/>
            <pc:sldMk cId="4184854307" sldId="1267"/>
            <ac:spMk id="9" creationId="{354F8335-CC09-7349-D9B7-9F092E0C7EAF}"/>
          </ac:spMkLst>
        </pc:spChg>
        <pc:spChg chg="add del mod modVis">
          <ac:chgData name="Kristina Keller" userId="a2867ebb-0012-4eee-aea6-0c6cc9d8a658" providerId="ADAL" clId="{27C7E874-EFB9-42FD-BDED-051A9CA8E650}" dt="2022-06-02T17:40:40.022" v="6254"/>
          <ac:spMkLst>
            <pc:docMk/>
            <pc:sldMk cId="4184854307" sldId="1267"/>
            <ac:spMk id="10" creationId="{88346CA2-FADC-8C97-6DB2-CB7774A61EC2}"/>
          </ac:spMkLst>
        </pc:spChg>
        <pc:spChg chg="add del mod modVis">
          <ac:chgData name="Kristina Keller" userId="a2867ebb-0012-4eee-aea6-0c6cc9d8a658" providerId="ADAL" clId="{27C7E874-EFB9-42FD-BDED-051A9CA8E650}" dt="2022-05-31T21:51:55.176" v="4720"/>
          <ac:spMkLst>
            <pc:docMk/>
            <pc:sldMk cId="4184854307" sldId="1267"/>
            <ac:spMk id="10" creationId="{920C90F4-EA74-5F35-B3BC-4082E2342BE1}"/>
          </ac:spMkLst>
        </pc:spChg>
        <pc:spChg chg="add del mod modVis">
          <ac:chgData name="Kristina Keller" userId="a2867ebb-0012-4eee-aea6-0c6cc9d8a658" providerId="ADAL" clId="{27C7E874-EFB9-42FD-BDED-051A9CA8E650}" dt="2022-06-02T17:40:41.359" v="6298"/>
          <ac:spMkLst>
            <pc:docMk/>
            <pc:sldMk cId="4184854307" sldId="1267"/>
            <ac:spMk id="11" creationId="{E11BE893-A622-223C-2FE2-D9B1E6FA2D4F}"/>
          </ac:spMkLst>
        </pc:spChg>
        <pc:spChg chg="add del mod modVis">
          <ac:chgData name="Kristina Keller" userId="a2867ebb-0012-4eee-aea6-0c6cc9d8a658" providerId="ADAL" clId="{27C7E874-EFB9-42FD-BDED-051A9CA8E650}" dt="2022-05-31T21:51:55.932" v="4763"/>
          <ac:spMkLst>
            <pc:docMk/>
            <pc:sldMk cId="4184854307" sldId="1267"/>
            <ac:spMk id="11" creationId="{E11F03F1-514F-82D6-E524-5377C45510FA}"/>
          </ac:spMkLst>
        </pc:spChg>
        <pc:graphicFrameChg chg="mod">
          <ac:chgData name="Kristina Keller" userId="a2867ebb-0012-4eee-aea6-0c6cc9d8a658" providerId="ADAL" clId="{27C7E874-EFB9-42FD-BDED-051A9CA8E650}" dt="2022-06-02T17:40:41.362" v="6300"/>
          <ac:graphicFrameMkLst>
            <pc:docMk/>
            <pc:sldMk cId="4184854307" sldId="1267"/>
            <ac:graphicFrameMk id="6" creationId="{07193355-44EC-1560-E470-89331215B82C}"/>
          </ac:graphicFrameMkLst>
        </pc:graphicFrameChg>
        <pc:picChg chg="add mod">
          <ac:chgData name="Kristina Keller" userId="a2867ebb-0012-4eee-aea6-0c6cc9d8a658" providerId="ADAL" clId="{27C7E874-EFB9-42FD-BDED-051A9CA8E650}" dt="2022-05-31T22:33:00.220" v="5733"/>
          <ac:picMkLst>
            <pc:docMk/>
            <pc:sldMk cId="4184854307" sldId="1267"/>
            <ac:picMk id="12" creationId="{BE6FA90D-3E78-1EB6-283F-4F7AAAB929B6}"/>
          </ac:picMkLst>
        </pc:picChg>
      </pc:sldChg>
      <pc:sldChg chg="addSp delSp modSp add mod">
        <pc:chgData name="Kristina Keller" userId="a2867ebb-0012-4eee-aea6-0c6cc9d8a658" providerId="ADAL" clId="{27C7E874-EFB9-42FD-BDED-051A9CA8E650}" dt="2022-06-02T17:54:00.652" v="7443" actId="20577"/>
        <pc:sldMkLst>
          <pc:docMk/>
          <pc:sldMk cId="860705406" sldId="1268"/>
        </pc:sldMkLst>
        <pc:spChg chg="add del mod modVis">
          <ac:chgData name="Kristina Keller" userId="a2867ebb-0012-4eee-aea6-0c6cc9d8a658" providerId="ADAL" clId="{27C7E874-EFB9-42FD-BDED-051A9CA8E650}" dt="2022-06-02T17:42:02.418" v="6368"/>
          <ac:spMkLst>
            <pc:docMk/>
            <pc:sldMk cId="860705406" sldId="1268"/>
            <ac:spMk id="2" creationId="{F3D326B8-A8FC-6FA2-7E96-4C5572C43152}"/>
          </ac:spMkLst>
        </pc:spChg>
        <pc:spChg chg="add del mod modVis">
          <ac:chgData name="Kristina Keller" userId="a2867ebb-0012-4eee-aea6-0c6cc9d8a658" providerId="ADAL" clId="{27C7E874-EFB9-42FD-BDED-051A9CA8E650}" dt="2022-06-02T17:52:45.951" v="6896"/>
          <ac:spMkLst>
            <pc:docMk/>
            <pc:sldMk cId="860705406" sldId="1268"/>
            <ac:spMk id="3" creationId="{B4EA7F9B-599E-33CD-3645-FD18BDBEF5E1}"/>
          </ac:spMkLst>
        </pc:spChg>
        <pc:spChg chg="mod">
          <ac:chgData name="Kristina Keller" userId="a2867ebb-0012-4eee-aea6-0c6cc9d8a658" providerId="ADAL" clId="{27C7E874-EFB9-42FD-BDED-051A9CA8E650}" dt="2022-06-02T17:53:20.244" v="7346" actId="948"/>
          <ac:spMkLst>
            <pc:docMk/>
            <pc:sldMk cId="860705406" sldId="1268"/>
            <ac:spMk id="4" creationId="{330177BF-920A-9D84-8147-B06D843D0CA5}"/>
          </ac:spMkLst>
        </pc:spChg>
        <pc:spChg chg="mod">
          <ac:chgData name="Kristina Keller" userId="a2867ebb-0012-4eee-aea6-0c6cc9d8a658" providerId="ADAL" clId="{27C7E874-EFB9-42FD-BDED-051A9CA8E650}" dt="2022-06-02T17:54:00.652" v="7443" actId="20577"/>
          <ac:spMkLst>
            <pc:docMk/>
            <pc:sldMk cId="860705406" sldId="1268"/>
            <ac:spMk id="5" creationId="{FF4AB304-C1EA-F00C-191B-424E264000BA}"/>
          </ac:spMkLst>
        </pc:spChg>
        <pc:spChg chg="add del mod modVis">
          <ac:chgData name="Kristina Keller" userId="a2867ebb-0012-4eee-aea6-0c6cc9d8a658" providerId="ADAL" clId="{27C7E874-EFB9-42FD-BDED-051A9CA8E650}" dt="2022-06-02T17:52:46.527" v="6939"/>
          <ac:spMkLst>
            <pc:docMk/>
            <pc:sldMk cId="860705406" sldId="1268"/>
            <ac:spMk id="7" creationId="{3EF0BDF2-FDE7-05AE-36C6-DE97E1E7345E}"/>
          </ac:spMkLst>
        </pc:spChg>
        <pc:spChg chg="add del mod modVis">
          <ac:chgData name="Kristina Keller" userId="a2867ebb-0012-4eee-aea6-0c6cc9d8a658" providerId="ADAL" clId="{27C7E874-EFB9-42FD-BDED-051A9CA8E650}" dt="2022-06-02T17:52:50.966" v="7004"/>
          <ac:spMkLst>
            <pc:docMk/>
            <pc:sldMk cId="860705406" sldId="1268"/>
            <ac:spMk id="8" creationId="{6456CAD7-9FC8-6DEA-A056-3388785BE397}"/>
          </ac:spMkLst>
        </pc:spChg>
        <pc:spChg chg="add del mod modVis">
          <ac:chgData name="Kristina Keller" userId="a2867ebb-0012-4eee-aea6-0c6cc9d8a658" providerId="ADAL" clId="{27C7E874-EFB9-42FD-BDED-051A9CA8E650}" dt="2022-06-02T17:52:54.820" v="7063"/>
          <ac:spMkLst>
            <pc:docMk/>
            <pc:sldMk cId="860705406" sldId="1268"/>
            <ac:spMk id="9" creationId="{555F4B05-3239-9D91-80AB-8B6EBC15CF11}"/>
          </ac:spMkLst>
        </pc:spChg>
        <pc:spChg chg="add del mod modVis">
          <ac:chgData name="Kristina Keller" userId="a2867ebb-0012-4eee-aea6-0c6cc9d8a658" providerId="ADAL" clId="{27C7E874-EFB9-42FD-BDED-051A9CA8E650}" dt="2022-06-02T17:52:57.657" v="7117"/>
          <ac:spMkLst>
            <pc:docMk/>
            <pc:sldMk cId="860705406" sldId="1268"/>
            <ac:spMk id="10" creationId="{5F5586B8-D82E-4891-F7B0-1BB359960B21}"/>
          </ac:spMkLst>
        </pc:spChg>
        <pc:spChg chg="add del mod modVis">
          <ac:chgData name="Kristina Keller" userId="a2867ebb-0012-4eee-aea6-0c6cc9d8a658" providerId="ADAL" clId="{27C7E874-EFB9-42FD-BDED-051A9CA8E650}" dt="2022-06-02T17:52:59.629" v="7161"/>
          <ac:spMkLst>
            <pc:docMk/>
            <pc:sldMk cId="860705406" sldId="1268"/>
            <ac:spMk id="11" creationId="{ABF9EAE0-D133-B14E-6681-82158D167857}"/>
          </ac:spMkLst>
        </pc:spChg>
        <pc:spChg chg="add del mod modVis">
          <ac:chgData name="Kristina Keller" userId="a2867ebb-0012-4eee-aea6-0c6cc9d8a658" providerId="ADAL" clId="{27C7E874-EFB9-42FD-BDED-051A9CA8E650}" dt="2022-06-02T17:53:01.494" v="7207"/>
          <ac:spMkLst>
            <pc:docMk/>
            <pc:sldMk cId="860705406" sldId="1268"/>
            <ac:spMk id="13" creationId="{C61FB5B7-AD61-D5E3-A777-184A2346CC49}"/>
          </ac:spMkLst>
        </pc:spChg>
        <pc:spChg chg="add del mod modVis">
          <ac:chgData name="Kristina Keller" userId="a2867ebb-0012-4eee-aea6-0c6cc9d8a658" providerId="ADAL" clId="{27C7E874-EFB9-42FD-BDED-051A9CA8E650}" dt="2022-06-02T17:53:17.374" v="7250"/>
          <ac:spMkLst>
            <pc:docMk/>
            <pc:sldMk cId="860705406" sldId="1268"/>
            <ac:spMk id="14" creationId="{C487368D-F1E4-819A-93E8-A9AF0944890C}"/>
          </ac:spMkLst>
        </pc:spChg>
        <pc:spChg chg="add del mod modVis">
          <ac:chgData name="Kristina Keller" userId="a2867ebb-0012-4eee-aea6-0c6cc9d8a658" providerId="ADAL" clId="{27C7E874-EFB9-42FD-BDED-051A9CA8E650}" dt="2022-06-02T17:53:18.586" v="7298"/>
          <ac:spMkLst>
            <pc:docMk/>
            <pc:sldMk cId="860705406" sldId="1268"/>
            <ac:spMk id="15" creationId="{708FF83E-BE59-D9BC-BBFA-FC14A9338C9D}"/>
          </ac:spMkLst>
        </pc:spChg>
        <pc:spChg chg="add del mod modVis">
          <ac:chgData name="Kristina Keller" userId="a2867ebb-0012-4eee-aea6-0c6cc9d8a658" providerId="ADAL" clId="{27C7E874-EFB9-42FD-BDED-051A9CA8E650}" dt="2022-06-02T17:53:19.334" v="7342"/>
          <ac:spMkLst>
            <pc:docMk/>
            <pc:sldMk cId="860705406" sldId="1268"/>
            <ac:spMk id="16" creationId="{4C9FCCCE-EB31-A938-46A7-C47FE4A9E304}"/>
          </ac:spMkLst>
        </pc:spChg>
        <pc:spChg chg="add del mod modVis">
          <ac:chgData name="Kristina Keller" userId="a2867ebb-0012-4eee-aea6-0c6cc9d8a658" providerId="ADAL" clId="{27C7E874-EFB9-42FD-BDED-051A9CA8E650}" dt="2022-06-02T17:53:20.275" v="7385"/>
          <ac:spMkLst>
            <pc:docMk/>
            <pc:sldMk cId="860705406" sldId="1268"/>
            <ac:spMk id="17" creationId="{156810C2-93D7-C229-3820-4312A9B7B5C1}"/>
          </ac:spMkLst>
        </pc:spChg>
        <pc:graphicFrameChg chg="mod">
          <ac:chgData name="Kristina Keller" userId="a2867ebb-0012-4eee-aea6-0c6cc9d8a658" providerId="ADAL" clId="{27C7E874-EFB9-42FD-BDED-051A9CA8E650}" dt="2022-06-02T17:53:20.278" v="7387"/>
          <ac:graphicFrameMkLst>
            <pc:docMk/>
            <pc:sldMk cId="860705406" sldId="1268"/>
            <ac:graphicFrameMk id="6" creationId="{07193355-44EC-1560-E470-89331215B82C}"/>
          </ac:graphicFrameMkLst>
        </pc:graphicFrameChg>
      </pc:sldChg>
      <pc:sldChg chg="addSp delSp modSp new add mod modClrScheme chgLayout">
        <pc:chgData name="Kristina Keller" userId="a2867ebb-0012-4eee-aea6-0c6cc9d8a658" providerId="ADAL" clId="{27C7E874-EFB9-42FD-BDED-051A9CA8E650}" dt="2022-06-02T17:58:02.384" v="7715" actId="255"/>
        <pc:sldMkLst>
          <pc:docMk/>
          <pc:sldMk cId="26799255" sldId="1269"/>
        </pc:sldMkLst>
        <pc:spChg chg="del mod ord">
          <ac:chgData name="Kristina Keller" userId="a2867ebb-0012-4eee-aea6-0c6cc9d8a658" providerId="ADAL" clId="{27C7E874-EFB9-42FD-BDED-051A9CA8E650}" dt="2022-06-02T17:56:42.770" v="7568"/>
          <ac:spMkLst>
            <pc:docMk/>
            <pc:sldMk cId="26799255" sldId="1269"/>
            <ac:spMk id="2" creationId="{721FF541-7B12-927A-5C03-8818180D7797}"/>
          </ac:spMkLst>
        </pc:spChg>
        <pc:spChg chg="del">
          <ac:chgData name="Kristina Keller" userId="a2867ebb-0012-4eee-aea6-0c6cc9d8a658" providerId="ADAL" clId="{27C7E874-EFB9-42FD-BDED-051A9CA8E650}" dt="2022-06-02T17:56:42.770" v="7568"/>
          <ac:spMkLst>
            <pc:docMk/>
            <pc:sldMk cId="26799255" sldId="1269"/>
            <ac:spMk id="3" creationId="{AEA2811A-9620-684C-4873-C841EED12ECB}"/>
          </ac:spMkLst>
        </pc:spChg>
        <pc:spChg chg="add mod ord">
          <ac:chgData name="Kristina Keller" userId="a2867ebb-0012-4eee-aea6-0c6cc9d8a658" providerId="ADAL" clId="{27C7E874-EFB9-42FD-BDED-051A9CA8E650}" dt="2022-06-02T17:56:49.134" v="7594" actId="20577"/>
          <ac:spMkLst>
            <pc:docMk/>
            <pc:sldMk cId="26799255" sldId="1269"/>
            <ac:spMk id="4" creationId="{441A6C8A-8671-4AA9-35D6-DF0EF3629523}"/>
          </ac:spMkLst>
        </pc:spChg>
        <pc:spChg chg="add mod ord">
          <ac:chgData name="Kristina Keller" userId="a2867ebb-0012-4eee-aea6-0c6cc9d8a658" providerId="ADAL" clId="{27C7E874-EFB9-42FD-BDED-051A9CA8E650}" dt="2022-06-02T17:58:02.384" v="7715" actId="255"/>
          <ac:spMkLst>
            <pc:docMk/>
            <pc:sldMk cId="26799255" sldId="1269"/>
            <ac:spMk id="5" creationId="{E4D39724-4097-6457-EC82-5525CE65B004}"/>
          </ac:spMkLst>
        </pc:spChg>
        <pc:graphicFrameChg chg="add mod ord modVis replST">
          <ac:chgData name="Kristina Keller" userId="a2867ebb-0012-4eee-aea6-0c6cc9d8a658" providerId="ADAL" clId="{27C7E874-EFB9-42FD-BDED-051A9CA8E650}" dt="2022-06-02T17:56:43.334" v="7584"/>
          <ac:graphicFrameMkLst>
            <pc:docMk/>
            <pc:sldMk cId="26799255" sldId="1269"/>
            <ac:graphicFrameMk id="6" creationId="{5191BDED-4122-5FA0-F6D0-E2BFBFF9079B}"/>
          </ac:graphicFrameMkLst>
        </pc:graphicFrameChg>
      </pc:sldChg>
      <pc:sldMasterChg chg="delSldLayout">
        <pc:chgData name="Kristina Keller" userId="a2867ebb-0012-4eee-aea6-0c6cc9d8a658" providerId="ADAL" clId="{27C7E874-EFB9-42FD-BDED-051A9CA8E650}" dt="2022-05-31T20:01:40.691" v="82" actId="47"/>
        <pc:sldMasterMkLst>
          <pc:docMk/>
          <pc:sldMasterMk cId="946940443" sldId="2147483660"/>
        </pc:sldMasterMkLst>
        <pc:sldLayoutChg chg="del">
          <pc:chgData name="Kristina Keller" userId="a2867ebb-0012-4eee-aea6-0c6cc9d8a658" providerId="ADAL" clId="{27C7E874-EFB9-42FD-BDED-051A9CA8E650}" dt="2022-05-31T20:01:40.691" v="82" actId="47"/>
          <pc:sldLayoutMkLst>
            <pc:docMk/>
            <pc:sldMasterMk cId="946940443" sldId="2147483660"/>
            <pc:sldLayoutMk cId="2894297180" sldId="2147483907"/>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F3ADBC1-7744-4B5F-8D40-BE966C75152A}" type="doc">
      <dgm:prSet loTypeId="urn:microsoft.com/office/officeart/2005/8/layout/vList3" loCatId="list" qsTypeId="urn:microsoft.com/office/officeart/2005/8/quickstyle/simple1" qsCatId="simple" csTypeId="urn:microsoft.com/office/officeart/2005/8/colors/accent1_2" csCatId="accent1" phldr="1"/>
      <dgm:spPr/>
    </dgm:pt>
    <dgm:pt modelId="{F55FC9E8-849E-40FA-AB23-99AB9EDAF109}">
      <dgm:prSet phldrT="[Text]"/>
      <dgm:spPr/>
      <dgm:t>
        <a:bodyPr/>
        <a:lstStyle/>
        <a:p>
          <a:r>
            <a:rPr lang="en-US" dirty="0"/>
            <a:t>Specific – </a:t>
          </a:r>
          <a:r>
            <a:rPr lang="en-US" dirty="0">
              <a:solidFill>
                <a:schemeClr val="bg1"/>
              </a:solidFill>
            </a:rPr>
            <a:t>should be direct, detailed and meaningful.</a:t>
          </a:r>
        </a:p>
      </dgm:t>
    </dgm:pt>
    <dgm:pt modelId="{1404DED1-DEB9-4BC7-A344-4289E3A984BC}" type="parTrans" cxnId="{DE6A4E11-32EE-41A5-8776-EBC1F22B3CC9}">
      <dgm:prSet/>
      <dgm:spPr/>
      <dgm:t>
        <a:bodyPr/>
        <a:lstStyle/>
        <a:p>
          <a:endParaRPr lang="en-US"/>
        </a:p>
      </dgm:t>
    </dgm:pt>
    <dgm:pt modelId="{D0F2B094-D53D-4A3C-9D22-8749204E3977}" type="sibTrans" cxnId="{DE6A4E11-32EE-41A5-8776-EBC1F22B3CC9}">
      <dgm:prSet/>
      <dgm:spPr/>
      <dgm:t>
        <a:bodyPr/>
        <a:lstStyle/>
        <a:p>
          <a:endParaRPr lang="en-US"/>
        </a:p>
      </dgm:t>
    </dgm:pt>
    <dgm:pt modelId="{72F162C7-931B-49F8-A5FF-F80E6EC0E503}">
      <dgm:prSet phldrT="[Text]"/>
      <dgm:spPr/>
      <dgm:t>
        <a:bodyPr/>
        <a:lstStyle/>
        <a:p>
          <a:r>
            <a:rPr lang="en-US" dirty="0"/>
            <a:t>Measurable – ideally can be quantified but should be reasonably measurable.</a:t>
          </a:r>
        </a:p>
      </dgm:t>
    </dgm:pt>
    <dgm:pt modelId="{0A1BAF23-20A8-4BFE-B8AB-F457F2743B14}" type="parTrans" cxnId="{932FC1C0-A82A-4BE4-BD98-9C981DEE79DA}">
      <dgm:prSet/>
      <dgm:spPr/>
      <dgm:t>
        <a:bodyPr/>
        <a:lstStyle/>
        <a:p>
          <a:endParaRPr lang="en-US"/>
        </a:p>
      </dgm:t>
    </dgm:pt>
    <dgm:pt modelId="{15ADA11F-2071-409F-AA07-B5EB92416B28}" type="sibTrans" cxnId="{932FC1C0-A82A-4BE4-BD98-9C981DEE79DA}">
      <dgm:prSet/>
      <dgm:spPr/>
      <dgm:t>
        <a:bodyPr/>
        <a:lstStyle/>
        <a:p>
          <a:endParaRPr lang="en-US"/>
        </a:p>
      </dgm:t>
    </dgm:pt>
    <dgm:pt modelId="{154BFA7E-2EFC-49C0-A2C1-57040EB61C73}">
      <dgm:prSet phldrT="[Text]"/>
      <dgm:spPr/>
      <dgm:t>
        <a:bodyPr/>
        <a:lstStyle/>
        <a:p>
          <a:r>
            <a:rPr lang="en-US" dirty="0"/>
            <a:t>Reliable – should enable monitoring and measurement on a recurring basis.</a:t>
          </a:r>
        </a:p>
      </dgm:t>
    </dgm:pt>
    <dgm:pt modelId="{20ADE82B-DE39-4BD5-A886-90CE5FC87750}" type="parTrans" cxnId="{DA5A4775-5E33-4560-B554-9C5C0679295D}">
      <dgm:prSet/>
      <dgm:spPr/>
      <dgm:t>
        <a:bodyPr/>
        <a:lstStyle/>
        <a:p>
          <a:endParaRPr lang="en-US"/>
        </a:p>
      </dgm:t>
    </dgm:pt>
    <dgm:pt modelId="{F9342ED0-5234-4B89-8312-49970D5AE564}" type="sibTrans" cxnId="{DA5A4775-5E33-4560-B554-9C5C0679295D}">
      <dgm:prSet/>
      <dgm:spPr/>
      <dgm:t>
        <a:bodyPr/>
        <a:lstStyle/>
        <a:p>
          <a:endParaRPr lang="en-US"/>
        </a:p>
      </dgm:t>
    </dgm:pt>
    <dgm:pt modelId="{7FAAD3A6-CCD1-4A2C-82EE-0DE8F0D871E3}">
      <dgm:prSet/>
      <dgm:spPr/>
      <dgm:t>
        <a:bodyPr/>
        <a:lstStyle/>
        <a:p>
          <a:r>
            <a:rPr lang="en-US" dirty="0"/>
            <a:t>Timely – should provide early warning signals of approaching risks or gaps in preparedness.</a:t>
          </a:r>
        </a:p>
      </dgm:t>
    </dgm:pt>
    <dgm:pt modelId="{5A3DC265-9E75-4FF6-8C8B-99710B970306}" type="parTrans" cxnId="{E93A623A-3873-4871-93CE-1A57AB4A5308}">
      <dgm:prSet/>
      <dgm:spPr/>
      <dgm:t>
        <a:bodyPr/>
        <a:lstStyle/>
        <a:p>
          <a:endParaRPr lang="en-US"/>
        </a:p>
      </dgm:t>
    </dgm:pt>
    <dgm:pt modelId="{F57E9A08-7D28-4076-91D2-4E77A8FC8B84}" type="sibTrans" cxnId="{E93A623A-3873-4871-93CE-1A57AB4A5308}">
      <dgm:prSet/>
      <dgm:spPr/>
      <dgm:t>
        <a:bodyPr/>
        <a:lstStyle/>
        <a:p>
          <a:endParaRPr lang="en-US"/>
        </a:p>
      </dgm:t>
    </dgm:pt>
    <dgm:pt modelId="{699C0038-2A6D-4699-AC08-1FF906BDAB89}">
      <dgm:prSet/>
      <dgm:spPr/>
      <dgm:t>
        <a:bodyPr/>
        <a:lstStyle/>
        <a:p>
          <a:r>
            <a:rPr lang="en-US" dirty="0"/>
            <a:t>Actionable – should help management in making decisions and taking action.</a:t>
          </a:r>
        </a:p>
      </dgm:t>
    </dgm:pt>
    <dgm:pt modelId="{4E5372EB-8BE2-43D2-8DC3-E8CA27A371AC}" type="parTrans" cxnId="{597424A0-7ACE-4AB0-868E-448A880724FE}">
      <dgm:prSet/>
      <dgm:spPr/>
      <dgm:t>
        <a:bodyPr/>
        <a:lstStyle/>
        <a:p>
          <a:endParaRPr lang="en-US"/>
        </a:p>
      </dgm:t>
    </dgm:pt>
    <dgm:pt modelId="{CB0D3CC0-DE5E-4FC8-9C26-C72F08BEFB7F}" type="sibTrans" cxnId="{597424A0-7ACE-4AB0-868E-448A880724FE}">
      <dgm:prSet/>
      <dgm:spPr/>
      <dgm:t>
        <a:bodyPr/>
        <a:lstStyle/>
        <a:p>
          <a:endParaRPr lang="en-US"/>
        </a:p>
      </dgm:t>
    </dgm:pt>
    <dgm:pt modelId="{9253FDA2-5D0C-4F75-8900-CE81EE60A134}" type="pres">
      <dgm:prSet presAssocID="{FF3ADBC1-7744-4B5F-8D40-BE966C75152A}" presName="linearFlow" presStyleCnt="0">
        <dgm:presLayoutVars>
          <dgm:dir/>
          <dgm:resizeHandles val="exact"/>
        </dgm:presLayoutVars>
      </dgm:prSet>
      <dgm:spPr/>
    </dgm:pt>
    <dgm:pt modelId="{718630E6-4B4E-41A7-919C-85E93CFDCB05}" type="pres">
      <dgm:prSet presAssocID="{F55FC9E8-849E-40FA-AB23-99AB9EDAF109}" presName="composite" presStyleCnt="0"/>
      <dgm:spPr/>
    </dgm:pt>
    <dgm:pt modelId="{66DABEDB-9DEE-4F58-8078-5E9078AF7EF6}" type="pres">
      <dgm:prSet presAssocID="{F55FC9E8-849E-40FA-AB23-99AB9EDAF109}" presName="imgShp" presStyleLbl="fgImgPlace1" presStyleIdx="0" presStyleCnt="5"/>
      <dgm:spPr/>
    </dgm:pt>
    <dgm:pt modelId="{5D58FA58-0A0A-4141-873E-622C179D66AB}" type="pres">
      <dgm:prSet presAssocID="{F55FC9E8-849E-40FA-AB23-99AB9EDAF109}" presName="txShp" presStyleLbl="node1" presStyleIdx="0" presStyleCnt="5">
        <dgm:presLayoutVars>
          <dgm:bulletEnabled val="1"/>
        </dgm:presLayoutVars>
      </dgm:prSet>
      <dgm:spPr/>
    </dgm:pt>
    <dgm:pt modelId="{5B8B2BE8-95E5-448E-AA6F-F0F886B97B70}" type="pres">
      <dgm:prSet presAssocID="{D0F2B094-D53D-4A3C-9D22-8749204E3977}" presName="spacing" presStyleCnt="0"/>
      <dgm:spPr/>
    </dgm:pt>
    <dgm:pt modelId="{93DF16A0-CEF4-42B3-A064-D64119CF7B17}" type="pres">
      <dgm:prSet presAssocID="{72F162C7-931B-49F8-A5FF-F80E6EC0E503}" presName="composite" presStyleCnt="0"/>
      <dgm:spPr/>
    </dgm:pt>
    <dgm:pt modelId="{50C8AD04-E260-4286-B537-6EE9EDAD1632}" type="pres">
      <dgm:prSet presAssocID="{72F162C7-931B-49F8-A5FF-F80E6EC0E503}" presName="imgShp" presStyleLbl="fgImgPlace1" presStyleIdx="1" presStyleCnt="5"/>
      <dgm:spPr/>
    </dgm:pt>
    <dgm:pt modelId="{D6C56069-1AC4-4D1C-B156-59FFAFE2D9B1}" type="pres">
      <dgm:prSet presAssocID="{72F162C7-931B-49F8-A5FF-F80E6EC0E503}" presName="txShp" presStyleLbl="node1" presStyleIdx="1" presStyleCnt="5">
        <dgm:presLayoutVars>
          <dgm:bulletEnabled val="1"/>
        </dgm:presLayoutVars>
      </dgm:prSet>
      <dgm:spPr/>
    </dgm:pt>
    <dgm:pt modelId="{0FFD8FF1-7859-4F25-815E-BDBE13511704}" type="pres">
      <dgm:prSet presAssocID="{15ADA11F-2071-409F-AA07-B5EB92416B28}" presName="spacing" presStyleCnt="0"/>
      <dgm:spPr/>
    </dgm:pt>
    <dgm:pt modelId="{F95A0E7D-6453-4266-81B2-525C7068863F}" type="pres">
      <dgm:prSet presAssocID="{699C0038-2A6D-4699-AC08-1FF906BDAB89}" presName="composite" presStyleCnt="0"/>
      <dgm:spPr/>
    </dgm:pt>
    <dgm:pt modelId="{5EC033A6-CD44-4D3C-AAF2-3F56E44F02B4}" type="pres">
      <dgm:prSet presAssocID="{699C0038-2A6D-4699-AC08-1FF906BDAB89}" presName="imgShp" presStyleLbl="fgImgPlace1" presStyleIdx="2" presStyleCnt="5"/>
      <dgm:spPr/>
    </dgm:pt>
    <dgm:pt modelId="{098FCB3D-08AD-421B-A2B1-8339325D3EB5}" type="pres">
      <dgm:prSet presAssocID="{699C0038-2A6D-4699-AC08-1FF906BDAB89}" presName="txShp" presStyleLbl="node1" presStyleIdx="2" presStyleCnt="5">
        <dgm:presLayoutVars>
          <dgm:bulletEnabled val="1"/>
        </dgm:presLayoutVars>
      </dgm:prSet>
      <dgm:spPr/>
    </dgm:pt>
    <dgm:pt modelId="{6F74B0CB-47F0-4CF1-A5B6-703F553E16EC}" type="pres">
      <dgm:prSet presAssocID="{CB0D3CC0-DE5E-4FC8-9C26-C72F08BEFB7F}" presName="spacing" presStyleCnt="0"/>
      <dgm:spPr/>
    </dgm:pt>
    <dgm:pt modelId="{6161D63D-8131-43E7-A0D7-F53DB12DD841}" type="pres">
      <dgm:prSet presAssocID="{154BFA7E-2EFC-49C0-A2C1-57040EB61C73}" presName="composite" presStyleCnt="0"/>
      <dgm:spPr/>
    </dgm:pt>
    <dgm:pt modelId="{FB34DEBD-88F0-4C14-84D9-162B1061457E}" type="pres">
      <dgm:prSet presAssocID="{154BFA7E-2EFC-49C0-A2C1-57040EB61C73}" presName="imgShp" presStyleLbl="fgImgPlace1" presStyleIdx="3" presStyleCnt="5"/>
      <dgm:spPr/>
    </dgm:pt>
    <dgm:pt modelId="{50E68D78-759A-4AD6-AFE9-2C69D3CA6697}" type="pres">
      <dgm:prSet presAssocID="{154BFA7E-2EFC-49C0-A2C1-57040EB61C73}" presName="txShp" presStyleLbl="node1" presStyleIdx="3" presStyleCnt="5">
        <dgm:presLayoutVars>
          <dgm:bulletEnabled val="1"/>
        </dgm:presLayoutVars>
      </dgm:prSet>
      <dgm:spPr/>
    </dgm:pt>
    <dgm:pt modelId="{8A271236-C5D6-4845-8679-E4E8DAB8621C}" type="pres">
      <dgm:prSet presAssocID="{F9342ED0-5234-4B89-8312-49970D5AE564}" presName="spacing" presStyleCnt="0"/>
      <dgm:spPr/>
    </dgm:pt>
    <dgm:pt modelId="{96A17252-85EC-471E-9ABF-53E113A9B455}" type="pres">
      <dgm:prSet presAssocID="{7FAAD3A6-CCD1-4A2C-82EE-0DE8F0D871E3}" presName="composite" presStyleCnt="0"/>
      <dgm:spPr/>
    </dgm:pt>
    <dgm:pt modelId="{E1CF0190-FDAF-4E30-AB77-BC5B7A01190F}" type="pres">
      <dgm:prSet presAssocID="{7FAAD3A6-CCD1-4A2C-82EE-0DE8F0D871E3}" presName="imgShp" presStyleLbl="fgImgPlace1" presStyleIdx="4" presStyleCnt="5"/>
      <dgm:spPr/>
    </dgm:pt>
    <dgm:pt modelId="{1DCC3591-C9EC-40F0-A477-D6C47279E5CA}" type="pres">
      <dgm:prSet presAssocID="{7FAAD3A6-CCD1-4A2C-82EE-0DE8F0D871E3}" presName="txShp" presStyleLbl="node1" presStyleIdx="4" presStyleCnt="5">
        <dgm:presLayoutVars>
          <dgm:bulletEnabled val="1"/>
        </dgm:presLayoutVars>
      </dgm:prSet>
      <dgm:spPr/>
    </dgm:pt>
  </dgm:ptLst>
  <dgm:cxnLst>
    <dgm:cxn modelId="{DE6A4E11-32EE-41A5-8776-EBC1F22B3CC9}" srcId="{FF3ADBC1-7744-4B5F-8D40-BE966C75152A}" destId="{F55FC9E8-849E-40FA-AB23-99AB9EDAF109}" srcOrd="0" destOrd="0" parTransId="{1404DED1-DEB9-4BC7-A344-4289E3A984BC}" sibTransId="{D0F2B094-D53D-4A3C-9D22-8749204E3977}"/>
    <dgm:cxn modelId="{C4CBC611-5F52-4FA7-8C94-CF9F08699B73}" type="presOf" srcId="{7FAAD3A6-CCD1-4A2C-82EE-0DE8F0D871E3}" destId="{1DCC3591-C9EC-40F0-A477-D6C47279E5CA}" srcOrd="0" destOrd="0" presId="urn:microsoft.com/office/officeart/2005/8/layout/vList3"/>
    <dgm:cxn modelId="{E93A623A-3873-4871-93CE-1A57AB4A5308}" srcId="{FF3ADBC1-7744-4B5F-8D40-BE966C75152A}" destId="{7FAAD3A6-CCD1-4A2C-82EE-0DE8F0D871E3}" srcOrd="4" destOrd="0" parTransId="{5A3DC265-9E75-4FF6-8C8B-99710B970306}" sibTransId="{F57E9A08-7D28-4076-91D2-4E77A8FC8B84}"/>
    <dgm:cxn modelId="{F3A7A26E-93A9-4BA1-91AC-BF42E3F71A79}" type="presOf" srcId="{154BFA7E-2EFC-49C0-A2C1-57040EB61C73}" destId="{50E68D78-759A-4AD6-AFE9-2C69D3CA6697}" srcOrd="0" destOrd="0" presId="urn:microsoft.com/office/officeart/2005/8/layout/vList3"/>
    <dgm:cxn modelId="{DA5A4775-5E33-4560-B554-9C5C0679295D}" srcId="{FF3ADBC1-7744-4B5F-8D40-BE966C75152A}" destId="{154BFA7E-2EFC-49C0-A2C1-57040EB61C73}" srcOrd="3" destOrd="0" parTransId="{20ADE82B-DE39-4BD5-A886-90CE5FC87750}" sibTransId="{F9342ED0-5234-4B89-8312-49970D5AE564}"/>
    <dgm:cxn modelId="{DF6B0C91-F7C1-45BF-BE54-8CB7276F2AB6}" type="presOf" srcId="{72F162C7-931B-49F8-A5FF-F80E6EC0E503}" destId="{D6C56069-1AC4-4D1C-B156-59FFAFE2D9B1}" srcOrd="0" destOrd="0" presId="urn:microsoft.com/office/officeart/2005/8/layout/vList3"/>
    <dgm:cxn modelId="{597424A0-7ACE-4AB0-868E-448A880724FE}" srcId="{FF3ADBC1-7744-4B5F-8D40-BE966C75152A}" destId="{699C0038-2A6D-4699-AC08-1FF906BDAB89}" srcOrd="2" destOrd="0" parTransId="{4E5372EB-8BE2-43D2-8DC3-E8CA27A371AC}" sibTransId="{CB0D3CC0-DE5E-4FC8-9C26-C72F08BEFB7F}"/>
    <dgm:cxn modelId="{932FC1C0-A82A-4BE4-BD98-9C981DEE79DA}" srcId="{FF3ADBC1-7744-4B5F-8D40-BE966C75152A}" destId="{72F162C7-931B-49F8-A5FF-F80E6EC0E503}" srcOrd="1" destOrd="0" parTransId="{0A1BAF23-20A8-4BFE-B8AB-F457F2743B14}" sibTransId="{15ADA11F-2071-409F-AA07-B5EB92416B28}"/>
    <dgm:cxn modelId="{B525FDD7-3249-4487-BC0F-169FEA9760D4}" type="presOf" srcId="{FF3ADBC1-7744-4B5F-8D40-BE966C75152A}" destId="{9253FDA2-5D0C-4F75-8900-CE81EE60A134}" srcOrd="0" destOrd="0" presId="urn:microsoft.com/office/officeart/2005/8/layout/vList3"/>
    <dgm:cxn modelId="{FD7E83E0-8B5D-4BDE-A82B-182F9FCC4F8D}" type="presOf" srcId="{699C0038-2A6D-4699-AC08-1FF906BDAB89}" destId="{098FCB3D-08AD-421B-A2B1-8339325D3EB5}" srcOrd="0" destOrd="0" presId="urn:microsoft.com/office/officeart/2005/8/layout/vList3"/>
    <dgm:cxn modelId="{DA59F0E3-2CC2-4D9B-9E00-CED3C237F494}" type="presOf" srcId="{F55FC9E8-849E-40FA-AB23-99AB9EDAF109}" destId="{5D58FA58-0A0A-4141-873E-622C179D66AB}" srcOrd="0" destOrd="0" presId="urn:microsoft.com/office/officeart/2005/8/layout/vList3"/>
    <dgm:cxn modelId="{542FD7D2-E4D2-44E6-A6B3-89ED8B874E44}" type="presParOf" srcId="{9253FDA2-5D0C-4F75-8900-CE81EE60A134}" destId="{718630E6-4B4E-41A7-919C-85E93CFDCB05}" srcOrd="0" destOrd="0" presId="urn:microsoft.com/office/officeart/2005/8/layout/vList3"/>
    <dgm:cxn modelId="{8E6D6DDE-B448-4E79-87B3-7EE67C88ABB3}" type="presParOf" srcId="{718630E6-4B4E-41A7-919C-85E93CFDCB05}" destId="{66DABEDB-9DEE-4F58-8078-5E9078AF7EF6}" srcOrd="0" destOrd="0" presId="urn:microsoft.com/office/officeart/2005/8/layout/vList3"/>
    <dgm:cxn modelId="{5F3E62B1-75E9-4DBB-A923-AA08CC49E682}" type="presParOf" srcId="{718630E6-4B4E-41A7-919C-85E93CFDCB05}" destId="{5D58FA58-0A0A-4141-873E-622C179D66AB}" srcOrd="1" destOrd="0" presId="urn:microsoft.com/office/officeart/2005/8/layout/vList3"/>
    <dgm:cxn modelId="{0A97AA5B-71D1-4495-86A6-9F2BE6697A6B}" type="presParOf" srcId="{9253FDA2-5D0C-4F75-8900-CE81EE60A134}" destId="{5B8B2BE8-95E5-448E-AA6F-F0F886B97B70}" srcOrd="1" destOrd="0" presId="urn:microsoft.com/office/officeart/2005/8/layout/vList3"/>
    <dgm:cxn modelId="{FA9689A8-AAEF-467A-B59D-5FA57C233F6D}" type="presParOf" srcId="{9253FDA2-5D0C-4F75-8900-CE81EE60A134}" destId="{93DF16A0-CEF4-42B3-A064-D64119CF7B17}" srcOrd="2" destOrd="0" presId="urn:microsoft.com/office/officeart/2005/8/layout/vList3"/>
    <dgm:cxn modelId="{68942244-57F4-466B-9A09-66922B75FD34}" type="presParOf" srcId="{93DF16A0-CEF4-42B3-A064-D64119CF7B17}" destId="{50C8AD04-E260-4286-B537-6EE9EDAD1632}" srcOrd="0" destOrd="0" presId="urn:microsoft.com/office/officeart/2005/8/layout/vList3"/>
    <dgm:cxn modelId="{CC7FCFF4-3DED-43FE-8C2B-9C4E3E0F64A8}" type="presParOf" srcId="{93DF16A0-CEF4-42B3-A064-D64119CF7B17}" destId="{D6C56069-1AC4-4D1C-B156-59FFAFE2D9B1}" srcOrd="1" destOrd="0" presId="urn:microsoft.com/office/officeart/2005/8/layout/vList3"/>
    <dgm:cxn modelId="{0EF7D22B-18A0-4788-AAC0-9A1993902223}" type="presParOf" srcId="{9253FDA2-5D0C-4F75-8900-CE81EE60A134}" destId="{0FFD8FF1-7859-4F25-815E-BDBE13511704}" srcOrd="3" destOrd="0" presId="urn:microsoft.com/office/officeart/2005/8/layout/vList3"/>
    <dgm:cxn modelId="{23393763-E806-455D-A754-AA73EB0096BE}" type="presParOf" srcId="{9253FDA2-5D0C-4F75-8900-CE81EE60A134}" destId="{F95A0E7D-6453-4266-81B2-525C7068863F}" srcOrd="4" destOrd="0" presId="urn:microsoft.com/office/officeart/2005/8/layout/vList3"/>
    <dgm:cxn modelId="{7F551807-C3B7-4301-B402-3BEF4F11B3E9}" type="presParOf" srcId="{F95A0E7D-6453-4266-81B2-525C7068863F}" destId="{5EC033A6-CD44-4D3C-AAF2-3F56E44F02B4}" srcOrd="0" destOrd="0" presId="urn:microsoft.com/office/officeart/2005/8/layout/vList3"/>
    <dgm:cxn modelId="{87B6FEDC-5A95-461B-8FB1-20459E80A59A}" type="presParOf" srcId="{F95A0E7D-6453-4266-81B2-525C7068863F}" destId="{098FCB3D-08AD-421B-A2B1-8339325D3EB5}" srcOrd="1" destOrd="0" presId="urn:microsoft.com/office/officeart/2005/8/layout/vList3"/>
    <dgm:cxn modelId="{F0858C42-BD29-4903-8C0D-2919AACAADC2}" type="presParOf" srcId="{9253FDA2-5D0C-4F75-8900-CE81EE60A134}" destId="{6F74B0CB-47F0-4CF1-A5B6-703F553E16EC}" srcOrd="5" destOrd="0" presId="urn:microsoft.com/office/officeart/2005/8/layout/vList3"/>
    <dgm:cxn modelId="{B3D29D9A-A041-4874-80CC-F0656AEF3941}" type="presParOf" srcId="{9253FDA2-5D0C-4F75-8900-CE81EE60A134}" destId="{6161D63D-8131-43E7-A0D7-F53DB12DD841}" srcOrd="6" destOrd="0" presId="urn:microsoft.com/office/officeart/2005/8/layout/vList3"/>
    <dgm:cxn modelId="{136B003C-E3CA-4BF5-8E52-6359CC819852}" type="presParOf" srcId="{6161D63D-8131-43E7-A0D7-F53DB12DD841}" destId="{FB34DEBD-88F0-4C14-84D9-162B1061457E}" srcOrd="0" destOrd="0" presId="urn:microsoft.com/office/officeart/2005/8/layout/vList3"/>
    <dgm:cxn modelId="{FFDE7164-5EFC-4C5C-96DC-BECAC817827E}" type="presParOf" srcId="{6161D63D-8131-43E7-A0D7-F53DB12DD841}" destId="{50E68D78-759A-4AD6-AFE9-2C69D3CA6697}" srcOrd="1" destOrd="0" presId="urn:microsoft.com/office/officeart/2005/8/layout/vList3"/>
    <dgm:cxn modelId="{BECDC98E-8D42-472E-BBA9-6AFF677A7EFE}" type="presParOf" srcId="{9253FDA2-5D0C-4F75-8900-CE81EE60A134}" destId="{8A271236-C5D6-4845-8679-E4E8DAB8621C}" srcOrd="7" destOrd="0" presId="urn:microsoft.com/office/officeart/2005/8/layout/vList3"/>
    <dgm:cxn modelId="{E0D0834D-B5DB-48A9-8BA3-D0F7314C392D}" type="presParOf" srcId="{9253FDA2-5D0C-4F75-8900-CE81EE60A134}" destId="{96A17252-85EC-471E-9ABF-53E113A9B455}" srcOrd="8" destOrd="0" presId="urn:microsoft.com/office/officeart/2005/8/layout/vList3"/>
    <dgm:cxn modelId="{8927B168-C220-4562-B9C4-8FC3ADFA2806}" type="presParOf" srcId="{96A17252-85EC-471E-9ABF-53E113A9B455}" destId="{E1CF0190-FDAF-4E30-AB77-BC5B7A01190F}" srcOrd="0" destOrd="0" presId="urn:microsoft.com/office/officeart/2005/8/layout/vList3"/>
    <dgm:cxn modelId="{F735B0F0-9539-4E15-A79B-54D8F55D5231}" type="presParOf" srcId="{96A17252-85EC-471E-9ABF-53E113A9B455}" destId="{1DCC3591-C9EC-40F0-A477-D6C47279E5CA}" srcOrd="1" destOrd="0" presId="urn:microsoft.com/office/officeart/2005/8/layout/vList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58FA58-0A0A-4141-873E-622C179D66AB}">
      <dsp:nvSpPr>
        <dsp:cNvPr id="0" name=""/>
        <dsp:cNvSpPr/>
      </dsp:nvSpPr>
      <dsp:spPr>
        <a:xfrm rot="10800000">
          <a:off x="862862" y="1351"/>
          <a:ext cx="2974066" cy="455023"/>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0653" tIns="38100" rIns="71120" bIns="38100" numCol="1" spcCol="1270" anchor="ctr" anchorCtr="0">
          <a:noAutofit/>
        </a:bodyPr>
        <a:lstStyle/>
        <a:p>
          <a:pPr marL="0" lvl="0" indent="0" algn="ctr" defTabSz="444500">
            <a:lnSpc>
              <a:spcPct val="90000"/>
            </a:lnSpc>
            <a:spcBef>
              <a:spcPct val="0"/>
            </a:spcBef>
            <a:spcAft>
              <a:spcPct val="35000"/>
            </a:spcAft>
            <a:buNone/>
          </a:pPr>
          <a:r>
            <a:rPr lang="en-US" sz="1000" kern="1200" dirty="0"/>
            <a:t>Specific – </a:t>
          </a:r>
          <a:r>
            <a:rPr lang="en-US" sz="1000" kern="1200" dirty="0">
              <a:solidFill>
                <a:schemeClr val="bg1"/>
              </a:solidFill>
            </a:rPr>
            <a:t>should be direct, detailed and meaningful.</a:t>
          </a:r>
        </a:p>
      </dsp:txBody>
      <dsp:txXfrm rot="10800000">
        <a:off x="976618" y="1351"/>
        <a:ext cx="2860310" cy="455023"/>
      </dsp:txXfrm>
    </dsp:sp>
    <dsp:sp modelId="{66DABEDB-9DEE-4F58-8078-5E9078AF7EF6}">
      <dsp:nvSpPr>
        <dsp:cNvPr id="0" name=""/>
        <dsp:cNvSpPr/>
      </dsp:nvSpPr>
      <dsp:spPr>
        <a:xfrm>
          <a:off x="635350" y="1351"/>
          <a:ext cx="455023" cy="455023"/>
        </a:xfrm>
        <a:prstGeom prst="ellipse">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6C56069-1AC4-4D1C-B156-59FFAFE2D9B1}">
      <dsp:nvSpPr>
        <dsp:cNvPr id="0" name=""/>
        <dsp:cNvSpPr/>
      </dsp:nvSpPr>
      <dsp:spPr>
        <a:xfrm rot="10800000">
          <a:off x="862862" y="592203"/>
          <a:ext cx="2974066" cy="455023"/>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0653" tIns="38100" rIns="71120" bIns="38100" numCol="1" spcCol="1270" anchor="ctr" anchorCtr="0">
          <a:noAutofit/>
        </a:bodyPr>
        <a:lstStyle/>
        <a:p>
          <a:pPr marL="0" lvl="0" indent="0" algn="ctr" defTabSz="444500">
            <a:lnSpc>
              <a:spcPct val="90000"/>
            </a:lnSpc>
            <a:spcBef>
              <a:spcPct val="0"/>
            </a:spcBef>
            <a:spcAft>
              <a:spcPct val="35000"/>
            </a:spcAft>
            <a:buNone/>
          </a:pPr>
          <a:r>
            <a:rPr lang="en-US" sz="1000" kern="1200" dirty="0"/>
            <a:t>Measurable – ideally can be quantified but should be reasonably measurable.</a:t>
          </a:r>
        </a:p>
      </dsp:txBody>
      <dsp:txXfrm rot="10800000">
        <a:off x="976618" y="592203"/>
        <a:ext cx="2860310" cy="455023"/>
      </dsp:txXfrm>
    </dsp:sp>
    <dsp:sp modelId="{50C8AD04-E260-4286-B537-6EE9EDAD1632}">
      <dsp:nvSpPr>
        <dsp:cNvPr id="0" name=""/>
        <dsp:cNvSpPr/>
      </dsp:nvSpPr>
      <dsp:spPr>
        <a:xfrm>
          <a:off x="635350" y="592203"/>
          <a:ext cx="455023" cy="455023"/>
        </a:xfrm>
        <a:prstGeom prst="ellipse">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98FCB3D-08AD-421B-A2B1-8339325D3EB5}">
      <dsp:nvSpPr>
        <dsp:cNvPr id="0" name=""/>
        <dsp:cNvSpPr/>
      </dsp:nvSpPr>
      <dsp:spPr>
        <a:xfrm rot="10800000">
          <a:off x="862862" y="1183055"/>
          <a:ext cx="2974066" cy="455023"/>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0653" tIns="38100" rIns="71120" bIns="38100" numCol="1" spcCol="1270" anchor="ctr" anchorCtr="0">
          <a:noAutofit/>
        </a:bodyPr>
        <a:lstStyle/>
        <a:p>
          <a:pPr marL="0" lvl="0" indent="0" algn="ctr" defTabSz="444500">
            <a:lnSpc>
              <a:spcPct val="90000"/>
            </a:lnSpc>
            <a:spcBef>
              <a:spcPct val="0"/>
            </a:spcBef>
            <a:spcAft>
              <a:spcPct val="35000"/>
            </a:spcAft>
            <a:buNone/>
          </a:pPr>
          <a:r>
            <a:rPr lang="en-US" sz="1000" kern="1200" dirty="0"/>
            <a:t>Actionable – should help management in making decisions and taking action.</a:t>
          </a:r>
        </a:p>
      </dsp:txBody>
      <dsp:txXfrm rot="10800000">
        <a:off x="976618" y="1183055"/>
        <a:ext cx="2860310" cy="455023"/>
      </dsp:txXfrm>
    </dsp:sp>
    <dsp:sp modelId="{5EC033A6-CD44-4D3C-AAF2-3F56E44F02B4}">
      <dsp:nvSpPr>
        <dsp:cNvPr id="0" name=""/>
        <dsp:cNvSpPr/>
      </dsp:nvSpPr>
      <dsp:spPr>
        <a:xfrm>
          <a:off x="635350" y="1183055"/>
          <a:ext cx="455023" cy="455023"/>
        </a:xfrm>
        <a:prstGeom prst="ellipse">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0E68D78-759A-4AD6-AFE9-2C69D3CA6697}">
      <dsp:nvSpPr>
        <dsp:cNvPr id="0" name=""/>
        <dsp:cNvSpPr/>
      </dsp:nvSpPr>
      <dsp:spPr>
        <a:xfrm rot="10800000">
          <a:off x="862862" y="1773907"/>
          <a:ext cx="2974066" cy="455023"/>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0653" tIns="38100" rIns="71120" bIns="38100" numCol="1" spcCol="1270" anchor="ctr" anchorCtr="0">
          <a:noAutofit/>
        </a:bodyPr>
        <a:lstStyle/>
        <a:p>
          <a:pPr marL="0" lvl="0" indent="0" algn="ctr" defTabSz="444500">
            <a:lnSpc>
              <a:spcPct val="90000"/>
            </a:lnSpc>
            <a:spcBef>
              <a:spcPct val="0"/>
            </a:spcBef>
            <a:spcAft>
              <a:spcPct val="35000"/>
            </a:spcAft>
            <a:buNone/>
          </a:pPr>
          <a:r>
            <a:rPr lang="en-US" sz="1000" kern="1200" dirty="0"/>
            <a:t>Reliable – should enable monitoring and measurement on a recurring basis.</a:t>
          </a:r>
        </a:p>
      </dsp:txBody>
      <dsp:txXfrm rot="10800000">
        <a:off x="976618" y="1773907"/>
        <a:ext cx="2860310" cy="455023"/>
      </dsp:txXfrm>
    </dsp:sp>
    <dsp:sp modelId="{FB34DEBD-88F0-4C14-84D9-162B1061457E}">
      <dsp:nvSpPr>
        <dsp:cNvPr id="0" name=""/>
        <dsp:cNvSpPr/>
      </dsp:nvSpPr>
      <dsp:spPr>
        <a:xfrm>
          <a:off x="635350" y="1773907"/>
          <a:ext cx="455023" cy="455023"/>
        </a:xfrm>
        <a:prstGeom prst="ellipse">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DCC3591-C9EC-40F0-A477-D6C47279E5CA}">
      <dsp:nvSpPr>
        <dsp:cNvPr id="0" name=""/>
        <dsp:cNvSpPr/>
      </dsp:nvSpPr>
      <dsp:spPr>
        <a:xfrm rot="10800000">
          <a:off x="862862" y="2364759"/>
          <a:ext cx="2974066" cy="455023"/>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0653" tIns="38100" rIns="71120" bIns="38100" numCol="1" spcCol="1270" anchor="ctr" anchorCtr="0">
          <a:noAutofit/>
        </a:bodyPr>
        <a:lstStyle/>
        <a:p>
          <a:pPr marL="0" lvl="0" indent="0" algn="ctr" defTabSz="444500">
            <a:lnSpc>
              <a:spcPct val="90000"/>
            </a:lnSpc>
            <a:spcBef>
              <a:spcPct val="0"/>
            </a:spcBef>
            <a:spcAft>
              <a:spcPct val="35000"/>
            </a:spcAft>
            <a:buNone/>
          </a:pPr>
          <a:r>
            <a:rPr lang="en-US" sz="1000" kern="1200" dirty="0"/>
            <a:t>Timely – should provide early warning signals of approaching risks or gaps in preparedness.</a:t>
          </a:r>
        </a:p>
      </dsp:txBody>
      <dsp:txXfrm rot="10800000">
        <a:off x="976618" y="2364759"/>
        <a:ext cx="2860310" cy="455023"/>
      </dsp:txXfrm>
    </dsp:sp>
    <dsp:sp modelId="{E1CF0190-FDAF-4E30-AB77-BC5B7A01190F}">
      <dsp:nvSpPr>
        <dsp:cNvPr id="0" name=""/>
        <dsp:cNvSpPr/>
      </dsp:nvSpPr>
      <dsp:spPr>
        <a:xfrm>
          <a:off x="635350" y="2364759"/>
          <a:ext cx="455023" cy="455023"/>
        </a:xfrm>
        <a:prstGeom prst="ellipse">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F79A52F-EA1D-1C48-B36B-3A856C5EDC8F}"/>
              </a:ext>
            </a:extLst>
          </p:cNvPr>
          <p:cNvSpPr>
            <a:spLocks noGrp="1"/>
          </p:cNvSpPr>
          <p:nvPr>
            <p:ph type="hdr" sz="quarter"/>
          </p:nvPr>
        </p:nvSpPr>
        <p:spPr>
          <a:xfrm>
            <a:off x="10" y="1"/>
            <a:ext cx="3169920" cy="481727"/>
          </a:xfrm>
          <a:prstGeom prst="rect">
            <a:avLst/>
          </a:prstGeom>
        </p:spPr>
        <p:txBody>
          <a:bodyPr vert="horz" lIns="96250" tIns="48124" rIns="96250" bIns="48124" rtlCol="0"/>
          <a:lstStyle>
            <a:lvl1pPr algn="l">
              <a:defRPr sz="1100"/>
            </a:lvl1pPr>
          </a:lstStyle>
          <a:p>
            <a:endParaRPr lang="en-US">
              <a:latin typeface="Arial Regular"/>
            </a:endParaRPr>
          </a:p>
        </p:txBody>
      </p:sp>
      <p:sp>
        <p:nvSpPr>
          <p:cNvPr id="3" name="Date Placeholder 2">
            <a:extLst>
              <a:ext uri="{FF2B5EF4-FFF2-40B4-BE49-F238E27FC236}">
                <a16:creationId xmlns:a16="http://schemas.microsoft.com/office/drawing/2014/main" id="{5578D14F-CA9E-7848-AC7C-FE8654D75D50}"/>
              </a:ext>
            </a:extLst>
          </p:cNvPr>
          <p:cNvSpPr>
            <a:spLocks noGrp="1"/>
          </p:cNvSpPr>
          <p:nvPr>
            <p:ph type="dt" sz="quarter" idx="1"/>
          </p:nvPr>
        </p:nvSpPr>
        <p:spPr>
          <a:xfrm>
            <a:off x="4143599" y="1"/>
            <a:ext cx="3169920" cy="481727"/>
          </a:xfrm>
          <a:prstGeom prst="rect">
            <a:avLst/>
          </a:prstGeom>
        </p:spPr>
        <p:txBody>
          <a:bodyPr vert="horz" lIns="96250" tIns="48124" rIns="96250" bIns="48124" rtlCol="0"/>
          <a:lstStyle>
            <a:lvl1pPr algn="r">
              <a:defRPr sz="1100"/>
            </a:lvl1pPr>
          </a:lstStyle>
          <a:p>
            <a:fld id="{7F90ADD4-84B3-764C-8902-99E6B9502078}" type="datetimeFigureOut">
              <a:rPr lang="en-US">
                <a:latin typeface="Arial Regular"/>
              </a:rPr>
              <a:t>6/6/2022</a:t>
            </a:fld>
            <a:endParaRPr lang="en-US">
              <a:latin typeface="Arial Regular"/>
            </a:endParaRPr>
          </a:p>
        </p:txBody>
      </p:sp>
      <p:sp>
        <p:nvSpPr>
          <p:cNvPr id="4" name="Footer Placeholder 3">
            <a:extLst>
              <a:ext uri="{FF2B5EF4-FFF2-40B4-BE49-F238E27FC236}">
                <a16:creationId xmlns:a16="http://schemas.microsoft.com/office/drawing/2014/main" id="{F5F25D63-0A1C-D94F-829D-4239C58A2C98}"/>
              </a:ext>
            </a:extLst>
          </p:cNvPr>
          <p:cNvSpPr>
            <a:spLocks noGrp="1"/>
          </p:cNvSpPr>
          <p:nvPr>
            <p:ph type="ftr" sz="quarter" idx="2"/>
          </p:nvPr>
        </p:nvSpPr>
        <p:spPr>
          <a:xfrm>
            <a:off x="10" y="9119495"/>
            <a:ext cx="3169920" cy="481726"/>
          </a:xfrm>
          <a:prstGeom prst="rect">
            <a:avLst/>
          </a:prstGeom>
        </p:spPr>
        <p:txBody>
          <a:bodyPr vert="horz" lIns="96250" tIns="48124" rIns="96250" bIns="48124" rtlCol="0" anchor="b"/>
          <a:lstStyle>
            <a:lvl1pPr algn="l">
              <a:defRPr sz="1100"/>
            </a:lvl1pPr>
          </a:lstStyle>
          <a:p>
            <a:endParaRPr lang="en-US">
              <a:latin typeface="Arial Regular"/>
            </a:endParaRPr>
          </a:p>
        </p:txBody>
      </p:sp>
      <p:sp>
        <p:nvSpPr>
          <p:cNvPr id="5" name="Slide Number Placeholder 4">
            <a:extLst>
              <a:ext uri="{FF2B5EF4-FFF2-40B4-BE49-F238E27FC236}">
                <a16:creationId xmlns:a16="http://schemas.microsoft.com/office/drawing/2014/main" id="{EF887725-AD4A-9940-849B-F150C522C27D}"/>
              </a:ext>
            </a:extLst>
          </p:cNvPr>
          <p:cNvSpPr>
            <a:spLocks noGrp="1"/>
          </p:cNvSpPr>
          <p:nvPr>
            <p:ph type="sldNum" sz="quarter" idx="3"/>
          </p:nvPr>
        </p:nvSpPr>
        <p:spPr>
          <a:xfrm>
            <a:off x="4143599" y="9119495"/>
            <a:ext cx="3169920" cy="481726"/>
          </a:xfrm>
          <a:prstGeom prst="rect">
            <a:avLst/>
          </a:prstGeom>
        </p:spPr>
        <p:txBody>
          <a:bodyPr vert="horz" lIns="96250" tIns="48124" rIns="96250" bIns="48124" rtlCol="0" anchor="b"/>
          <a:lstStyle>
            <a:lvl1pPr algn="r">
              <a:defRPr sz="1100"/>
            </a:lvl1pPr>
          </a:lstStyle>
          <a:p>
            <a:fld id="{2A2D7888-58BA-2B46-8CBE-58F281CB5A88}" type="slidenum">
              <a:rPr>
                <a:latin typeface="Arial Regular"/>
              </a:rPr>
              <a:t>‹#›</a:t>
            </a:fld>
            <a:endParaRPr lang="en-US">
              <a:latin typeface="Arial Regular"/>
            </a:endParaRPr>
          </a:p>
        </p:txBody>
      </p:sp>
    </p:spTree>
    <p:extLst>
      <p:ext uri="{BB962C8B-B14F-4D97-AF65-F5344CB8AC3E}">
        <p14:creationId xmlns:p14="http://schemas.microsoft.com/office/powerpoint/2010/main" val="2133219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0" y="1"/>
            <a:ext cx="3169920" cy="481727"/>
          </a:xfrm>
          <a:prstGeom prst="rect">
            <a:avLst/>
          </a:prstGeom>
        </p:spPr>
        <p:txBody>
          <a:bodyPr vert="horz" lIns="96250" tIns="48124" rIns="96250" bIns="48124" rtlCol="0"/>
          <a:lstStyle>
            <a:lvl1pPr algn="l">
              <a:defRPr sz="1100" b="0" i="0">
                <a:latin typeface="Arial (null)"/>
              </a:defRPr>
            </a:lvl1pPr>
          </a:lstStyle>
          <a:p>
            <a:endParaRPr lang="en-US"/>
          </a:p>
        </p:txBody>
      </p:sp>
      <p:sp>
        <p:nvSpPr>
          <p:cNvPr id="3" name="Date Placeholder 2"/>
          <p:cNvSpPr>
            <a:spLocks noGrp="1"/>
          </p:cNvSpPr>
          <p:nvPr>
            <p:ph type="dt" idx="1"/>
          </p:nvPr>
        </p:nvSpPr>
        <p:spPr>
          <a:xfrm>
            <a:off x="4143599" y="1"/>
            <a:ext cx="3169920" cy="481727"/>
          </a:xfrm>
          <a:prstGeom prst="rect">
            <a:avLst/>
          </a:prstGeom>
        </p:spPr>
        <p:txBody>
          <a:bodyPr vert="horz" lIns="96250" tIns="48124" rIns="96250" bIns="48124" rtlCol="0"/>
          <a:lstStyle>
            <a:lvl1pPr algn="r">
              <a:defRPr sz="1100" b="0" i="0">
                <a:latin typeface="Arial (null)"/>
              </a:defRPr>
            </a:lvl1pPr>
          </a:lstStyle>
          <a:p>
            <a:fld id="{067775AB-187D-C94B-A90A-727152E03170}" type="datetimeFigureOut">
              <a:rPr lang="en-US"/>
              <a:pPr/>
              <a:t>6/6/2022</a:t>
            </a:fld>
            <a:endParaRPr lang="en-US"/>
          </a:p>
        </p:txBody>
      </p:sp>
      <p:sp>
        <p:nvSpPr>
          <p:cNvPr id="4" name="Slide Image Placeholder 3"/>
          <p:cNvSpPr>
            <a:spLocks noGrp="1" noRot="1" noChangeAspect="1"/>
          </p:cNvSpPr>
          <p:nvPr>
            <p:ph type="sldImg" idx="2"/>
          </p:nvPr>
        </p:nvSpPr>
        <p:spPr>
          <a:xfrm>
            <a:off x="1497013" y="1200150"/>
            <a:ext cx="4321175" cy="3240088"/>
          </a:xfrm>
          <a:prstGeom prst="rect">
            <a:avLst/>
          </a:prstGeom>
          <a:noFill/>
          <a:ln w="12700">
            <a:solidFill>
              <a:prstClr val="black"/>
            </a:solidFill>
          </a:ln>
        </p:spPr>
        <p:txBody>
          <a:bodyPr vert="horz" lIns="96250" tIns="48124" rIns="96250" bIns="48124" rtlCol="0" anchor="ctr"/>
          <a:lstStyle/>
          <a:p>
            <a:endParaRPr lang="en-US"/>
          </a:p>
        </p:txBody>
      </p:sp>
      <p:sp>
        <p:nvSpPr>
          <p:cNvPr id="5" name="Notes Placeholder 4"/>
          <p:cNvSpPr>
            <a:spLocks noGrp="1"/>
          </p:cNvSpPr>
          <p:nvPr>
            <p:ph type="body" sz="quarter" idx="3"/>
          </p:nvPr>
        </p:nvSpPr>
        <p:spPr>
          <a:xfrm>
            <a:off x="731521" y="4620578"/>
            <a:ext cx="5852160" cy="3780473"/>
          </a:xfrm>
          <a:prstGeom prst="rect">
            <a:avLst/>
          </a:prstGeom>
        </p:spPr>
        <p:txBody>
          <a:bodyPr vert="horz" lIns="96250" tIns="48124" rIns="96250" bIns="48124"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0" y="9119495"/>
            <a:ext cx="3169920" cy="481726"/>
          </a:xfrm>
          <a:prstGeom prst="rect">
            <a:avLst/>
          </a:prstGeom>
        </p:spPr>
        <p:txBody>
          <a:bodyPr vert="horz" lIns="96250" tIns="48124" rIns="96250" bIns="48124" rtlCol="0" anchor="b"/>
          <a:lstStyle>
            <a:lvl1pPr algn="l">
              <a:defRPr sz="1100" b="0" i="0">
                <a:latin typeface="Arial (null)"/>
              </a:defRPr>
            </a:lvl1pPr>
          </a:lstStyle>
          <a:p>
            <a:endParaRPr lang="en-US"/>
          </a:p>
        </p:txBody>
      </p:sp>
      <p:sp>
        <p:nvSpPr>
          <p:cNvPr id="7" name="Slide Number Placeholder 6"/>
          <p:cNvSpPr>
            <a:spLocks noGrp="1"/>
          </p:cNvSpPr>
          <p:nvPr>
            <p:ph type="sldNum" sz="quarter" idx="5"/>
          </p:nvPr>
        </p:nvSpPr>
        <p:spPr>
          <a:xfrm>
            <a:off x="4143599" y="9119495"/>
            <a:ext cx="3169920" cy="481726"/>
          </a:xfrm>
          <a:prstGeom prst="rect">
            <a:avLst/>
          </a:prstGeom>
        </p:spPr>
        <p:txBody>
          <a:bodyPr vert="horz" lIns="96250" tIns="48124" rIns="96250" bIns="48124" rtlCol="0" anchor="b"/>
          <a:lstStyle>
            <a:lvl1pPr algn="r">
              <a:defRPr sz="1100" b="0" i="0">
                <a:latin typeface="Arial (null)"/>
              </a:defRPr>
            </a:lvl1pPr>
          </a:lstStyle>
          <a:p>
            <a:fld id="{8B53BD99-3242-7B4D-B302-E9EEFEFF213E}" type="slidenum">
              <a:rPr lang="en-US"/>
              <a:pPr/>
              <a:t>‹#›</a:t>
            </a:fld>
            <a:endParaRPr lang="en-US"/>
          </a:p>
        </p:txBody>
      </p:sp>
    </p:spTree>
    <p:extLst>
      <p:ext uri="{BB962C8B-B14F-4D97-AF65-F5344CB8AC3E}">
        <p14:creationId xmlns:p14="http://schemas.microsoft.com/office/powerpoint/2010/main" val="1353834371"/>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null)"/>
        <a:ea typeface="+mn-ea"/>
        <a:cs typeface="+mn-cs"/>
      </a:defRPr>
    </a:lvl1pPr>
    <a:lvl2pPr marL="457200" algn="l" defTabSz="914400" rtl="0" eaLnBrk="1" latinLnBrk="0" hangingPunct="1">
      <a:defRPr sz="1200" b="0" i="0" kern="1200">
        <a:solidFill>
          <a:schemeClr val="tx1"/>
        </a:solidFill>
        <a:latin typeface="Arial (null)"/>
        <a:ea typeface="+mn-ea"/>
        <a:cs typeface="+mn-cs"/>
      </a:defRPr>
    </a:lvl2pPr>
    <a:lvl3pPr marL="914400" algn="l" defTabSz="914400" rtl="0" eaLnBrk="1" latinLnBrk="0" hangingPunct="1">
      <a:defRPr sz="1200" b="0" i="0" kern="1200">
        <a:solidFill>
          <a:schemeClr val="tx1"/>
        </a:solidFill>
        <a:latin typeface="Arial (null)"/>
        <a:ea typeface="+mn-ea"/>
        <a:cs typeface="+mn-cs"/>
      </a:defRPr>
    </a:lvl3pPr>
    <a:lvl4pPr marL="1371600" algn="l" defTabSz="914400" rtl="0" eaLnBrk="1" latinLnBrk="0" hangingPunct="1">
      <a:defRPr sz="1200" b="0" i="0" kern="1200">
        <a:solidFill>
          <a:schemeClr val="tx1"/>
        </a:solidFill>
        <a:latin typeface="Arial (null)"/>
        <a:ea typeface="+mn-ea"/>
        <a:cs typeface="+mn-cs"/>
      </a:defRPr>
    </a:lvl4pPr>
    <a:lvl5pPr marL="1828800" algn="l" defTabSz="914400" rtl="0" eaLnBrk="1" latinLnBrk="0" hangingPunct="1">
      <a:defRPr sz="1200" b="0" i="0" kern="1200">
        <a:solidFill>
          <a:schemeClr val="tx1"/>
        </a:solidFill>
        <a:latin typeface="Arial (null)"/>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Option A">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493B54F-CB09-F74C-A178-BB749A6D1FB5}"/>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9144000" cy="6858629"/>
          </a:xfrm>
          <a:prstGeom prst="rect">
            <a:avLst/>
          </a:prstGeom>
        </p:spPr>
      </p:pic>
      <p:sp>
        <p:nvSpPr>
          <p:cNvPr id="15" name="Text Placeholder 14">
            <a:extLst>
              <a:ext uri="{FF2B5EF4-FFF2-40B4-BE49-F238E27FC236}">
                <a16:creationId xmlns:a16="http://schemas.microsoft.com/office/drawing/2014/main" id="{3C2E2540-2EAC-114C-931C-1CB08E2839D6}"/>
              </a:ext>
            </a:extLst>
          </p:cNvPr>
          <p:cNvSpPr>
            <a:spLocks noGrp="1"/>
          </p:cNvSpPr>
          <p:nvPr>
            <p:ph type="body" sz="quarter" idx="10" hasCustomPrompt="1"/>
          </p:nvPr>
        </p:nvSpPr>
        <p:spPr>
          <a:xfrm>
            <a:off x="419100" y="2303164"/>
            <a:ext cx="8305800" cy="498598"/>
          </a:xfrm>
          <a:prstGeom prst="rect">
            <a:avLst/>
          </a:prstGeom>
        </p:spPr>
        <p:txBody>
          <a:bodyPr/>
          <a:lstStyle>
            <a:lvl1pPr marL="0" indent="0" algn="ctr">
              <a:buNone/>
              <a:defRPr sz="3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Title of Presentation</a:t>
            </a:r>
          </a:p>
        </p:txBody>
      </p:sp>
      <p:sp>
        <p:nvSpPr>
          <p:cNvPr id="17" name="Text Placeholder 16">
            <a:extLst>
              <a:ext uri="{FF2B5EF4-FFF2-40B4-BE49-F238E27FC236}">
                <a16:creationId xmlns:a16="http://schemas.microsoft.com/office/drawing/2014/main" id="{009D7C64-D1F2-1444-851C-C89A07CF7BE3}"/>
              </a:ext>
            </a:extLst>
          </p:cNvPr>
          <p:cNvSpPr>
            <a:spLocks noGrp="1"/>
          </p:cNvSpPr>
          <p:nvPr>
            <p:ph type="body" sz="quarter" idx="11" hasCustomPrompt="1"/>
          </p:nvPr>
        </p:nvSpPr>
        <p:spPr>
          <a:xfrm>
            <a:off x="419100" y="3536539"/>
            <a:ext cx="8305800" cy="387798"/>
          </a:xfrm>
          <a:prstGeom prst="rect">
            <a:avLst/>
          </a:prstGeom>
        </p:spPr>
        <p:txBody>
          <a:bodyPr/>
          <a:lstStyle>
            <a:lvl1pPr marL="0" indent="0" algn="ctr">
              <a:buNone/>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Date</a:t>
            </a:r>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73496" y="6039625"/>
            <a:ext cx="1749407" cy="31087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15" name="Content Placeholder">
            <a:extLst>
              <a:ext uri="{FF2B5EF4-FFF2-40B4-BE49-F238E27FC236}">
                <a16:creationId xmlns:a16="http://schemas.microsoft.com/office/drawing/2014/main" id="{4C3DAF4C-D4CA-B841-A6C3-98D646F4AE43}"/>
              </a:ext>
            </a:extLst>
          </p:cNvPr>
          <p:cNvSpPr>
            <a:spLocks noGrp="1"/>
          </p:cNvSpPr>
          <p:nvPr>
            <p:ph type="body" sz="quarter" idx="14"/>
          </p:nvPr>
        </p:nvSpPr>
        <p:spPr>
          <a:xfrm>
            <a:off x="419100" y="1453896"/>
            <a:ext cx="8305800" cy="1785104"/>
          </a:xfrm>
          <a:prstGeom prst="rect">
            <a:avLst/>
          </a:prstGeom>
        </p:spPr>
        <p:txBody>
          <a:bodyPr wrap="square" lIns="0" tIns="0" rIns="0" bIns="0">
            <a:spAutoFit/>
          </a:bodyPr>
          <a:lstStyle>
            <a:lvl1pPr marL="174625" indent="-174625">
              <a:spcBef>
                <a:spcPts val="0"/>
              </a:spcBef>
              <a:spcAft>
                <a:spcPts val="900"/>
              </a:spcAft>
              <a:buClr>
                <a:srgbClr val="404040"/>
              </a:buClr>
              <a:tabLst/>
              <a:defRPr sz="1800">
                <a:solidFill>
                  <a:srgbClr val="404040"/>
                </a:solidFill>
              </a:defRPr>
            </a:lvl1pPr>
            <a:lvl2pPr marL="400050" indent="-174625">
              <a:spcBef>
                <a:spcPts val="0"/>
              </a:spcBef>
              <a:spcAft>
                <a:spcPts val="1100"/>
              </a:spcAft>
              <a:buClr>
                <a:srgbClr val="404040"/>
              </a:buClr>
              <a:tabLst/>
              <a:defRPr sz="1800">
                <a:solidFill>
                  <a:srgbClr val="404040"/>
                </a:solidFill>
              </a:defRPr>
            </a:lvl2pPr>
            <a:lvl3pPr marL="628650" indent="-174625">
              <a:spcBef>
                <a:spcPts val="0"/>
              </a:spcBef>
              <a:spcAft>
                <a:spcPts val="1100"/>
              </a:spcAft>
              <a:buClr>
                <a:srgbClr val="404040"/>
              </a:buClr>
              <a:tabLst/>
              <a:defRPr sz="1800">
                <a:solidFill>
                  <a:srgbClr val="404040"/>
                </a:solidFill>
              </a:defRPr>
            </a:lvl3pPr>
            <a:lvl4pPr marL="857250" indent="-174625">
              <a:spcBef>
                <a:spcPts val="0"/>
              </a:spcBef>
              <a:spcAft>
                <a:spcPts val="1100"/>
              </a:spcAft>
              <a:buClr>
                <a:srgbClr val="404040"/>
              </a:buClr>
              <a:tabLst/>
              <a:defRPr sz="1800">
                <a:solidFill>
                  <a:srgbClr val="404040"/>
                </a:solidFill>
              </a:defRPr>
            </a:lvl4pPr>
            <a:lvl5pPr marL="1085850" indent="-174625">
              <a:spcBef>
                <a:spcPts val="0"/>
              </a:spcBef>
              <a:spcAft>
                <a:spcPts val="1100"/>
              </a:spcAft>
              <a:buClr>
                <a:srgbClr val="404040"/>
              </a:buClr>
              <a:tabLst/>
              <a:defRPr sz="1800">
                <a:solidFill>
                  <a:srgbClr val="40404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a:extLst>
              <a:ext uri="{FF2B5EF4-FFF2-40B4-BE49-F238E27FC236}">
                <a16:creationId xmlns:a16="http://schemas.microsoft.com/office/drawing/2014/main" id="{422E5574-76EC-4E4B-B702-34A67714698D}"/>
              </a:ext>
            </a:extLst>
          </p:cNvPr>
          <p:cNvSpPr>
            <a:spLocks noGrp="1"/>
          </p:cNvSpPr>
          <p:nvPr>
            <p:ph type="title" hasCustomPrompt="1"/>
          </p:nvPr>
        </p:nvSpPr>
        <p:spPr>
          <a:xfrm>
            <a:off x="419100" y="559579"/>
            <a:ext cx="8305800" cy="304699"/>
          </a:xfrm>
          <a:prstGeom prst="rect">
            <a:avLst/>
          </a:prstGeom>
        </p:spPr>
        <p:txBody>
          <a:bodyPr vert="horz" wrap="square" lIns="0" tIns="0" rIns="0" bIns="0" rtlCol="0" anchor="b" anchorCtr="0">
            <a:spAutoFit/>
          </a:bodyPr>
          <a:lstStyle/>
          <a:p>
            <a:r>
              <a:rPr lang="en-US"/>
              <a:t>Click to edit title of style</a:t>
            </a:r>
            <a:endParaRPr lang="en-US" dirty="0"/>
          </a:p>
        </p:txBody>
      </p:sp>
    </p:spTree>
    <p:extLst>
      <p:ext uri="{BB962C8B-B14F-4D97-AF65-F5344CB8AC3E}">
        <p14:creationId xmlns:p14="http://schemas.microsoft.com/office/powerpoint/2010/main" val="4234481806"/>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head, Footnotes">
    <p:spTree>
      <p:nvGrpSpPr>
        <p:cNvPr id="1" name=""/>
        <p:cNvGrpSpPr/>
        <p:nvPr/>
      </p:nvGrpSpPr>
      <p:grpSpPr>
        <a:xfrm>
          <a:off x="0" y="0"/>
          <a:ext cx="0" cy="0"/>
          <a:chOff x="0" y="0"/>
          <a:chExt cx="0" cy="0"/>
        </a:xfrm>
      </p:grpSpPr>
      <p:sp>
        <p:nvSpPr>
          <p:cNvPr id="9" name="Subhead Placeholder">
            <a:extLst>
              <a:ext uri="{FF2B5EF4-FFF2-40B4-BE49-F238E27FC236}">
                <a16:creationId xmlns:a16="http://schemas.microsoft.com/office/drawing/2014/main" id="{156C505B-F0B1-014F-9EF5-D45DD39620BC}"/>
              </a:ext>
            </a:extLst>
          </p:cNvPr>
          <p:cNvSpPr>
            <a:spLocks noGrp="1"/>
          </p:cNvSpPr>
          <p:nvPr>
            <p:ph type="body" sz="quarter" idx="13" hasCustomPrompt="1"/>
          </p:nvPr>
        </p:nvSpPr>
        <p:spPr>
          <a:xfrm>
            <a:off x="419100" y="1047734"/>
            <a:ext cx="8305800" cy="221599"/>
          </a:xfrm>
          <a:prstGeom prst="rect">
            <a:avLst/>
          </a:prstGeom>
        </p:spPr>
        <p:txBody>
          <a:bodyPr lIns="0" tIns="0" rIns="0" bIns="0"/>
          <a:lstStyle>
            <a:lvl1pPr marL="0" indent="0">
              <a:buNone/>
              <a:defRPr sz="1600">
                <a:solidFill>
                  <a:srgbClr val="404040"/>
                </a:solidFill>
              </a:defRPr>
            </a:lvl1pPr>
          </a:lstStyle>
          <a:p>
            <a:pPr lvl="0"/>
            <a:r>
              <a:rPr lang="en-US"/>
              <a:t>Click to edit subhead</a:t>
            </a:r>
          </a:p>
        </p:txBody>
      </p:sp>
      <p:sp>
        <p:nvSpPr>
          <p:cNvPr id="2" name="Title Placeholder"/>
          <p:cNvSpPr>
            <a:spLocks noGrp="1"/>
          </p:cNvSpPr>
          <p:nvPr>
            <p:ph type="title" hasCustomPrompt="1"/>
          </p:nvPr>
        </p:nvSpPr>
        <p:spPr/>
        <p:txBody>
          <a:bodyPr/>
          <a:lstStyle/>
          <a:p>
            <a:r>
              <a:rPr lang="en-US"/>
              <a:t>Click to edit title of style</a:t>
            </a:r>
            <a:endParaRPr lang="en-US" dirty="0"/>
          </a:p>
        </p:txBody>
      </p:sp>
      <p:sp>
        <p:nvSpPr>
          <p:cNvPr id="7" name="Footnote Placeholder">
            <a:extLst>
              <a:ext uri="{FF2B5EF4-FFF2-40B4-BE49-F238E27FC236}">
                <a16:creationId xmlns:a16="http://schemas.microsoft.com/office/drawing/2014/main" id="{748251A0-DFC5-6A43-A0A8-D10519972DE3}"/>
              </a:ext>
            </a:extLst>
          </p:cNvPr>
          <p:cNvSpPr>
            <a:spLocks noGrp="1"/>
          </p:cNvSpPr>
          <p:nvPr>
            <p:ph type="body" sz="quarter" idx="15" hasCustomPrompt="1"/>
          </p:nvPr>
        </p:nvSpPr>
        <p:spPr>
          <a:xfrm>
            <a:off x="419100" y="6387491"/>
            <a:ext cx="4152901" cy="409343"/>
          </a:xfrm>
          <a:prstGeom prst="rect">
            <a:avLst/>
          </a:prstGeom>
        </p:spPr>
        <p:txBody>
          <a:bodyPr wrap="square" lIns="0" tIns="0" rIns="0" bIns="0" anchor="b" anchorCtr="0">
            <a:spAutoFit/>
          </a:bodyPr>
          <a:lstStyle>
            <a:lvl1pPr marL="114300" indent="-114300">
              <a:spcBef>
                <a:spcPts val="0"/>
              </a:spcBef>
              <a:spcAft>
                <a:spcPts val="300"/>
              </a:spcAft>
              <a:buClr>
                <a:srgbClr val="404040"/>
              </a:buClr>
              <a:buFont typeface="+mj-lt"/>
              <a:buAutoNum type="arabicPeriod"/>
              <a:tabLst/>
              <a:defRPr sz="800">
                <a:solidFill>
                  <a:srgbClr val="404040"/>
                </a:solidFill>
              </a:defRPr>
            </a:lvl1pPr>
          </a:lstStyle>
          <a:p>
            <a:pPr lvl="0"/>
            <a:r>
              <a:rPr lang="en-US"/>
              <a:t>Edit footnote text</a:t>
            </a:r>
          </a:p>
          <a:p>
            <a:pPr lvl="0"/>
            <a:r>
              <a:rPr lang="en-US"/>
              <a:t>Edit footnote text</a:t>
            </a:r>
          </a:p>
          <a:p>
            <a:pPr lvl="0"/>
            <a:r>
              <a:rPr lang="en-US"/>
              <a:t>Edit footnote tex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9" name="Subhead Placeholder">
            <a:extLst>
              <a:ext uri="{FF2B5EF4-FFF2-40B4-BE49-F238E27FC236}">
                <a16:creationId xmlns:a16="http://schemas.microsoft.com/office/drawing/2014/main" id="{156C505B-F0B1-014F-9EF5-D45DD39620BC}"/>
              </a:ext>
            </a:extLst>
          </p:cNvPr>
          <p:cNvSpPr>
            <a:spLocks noGrp="1"/>
          </p:cNvSpPr>
          <p:nvPr>
            <p:ph type="body" sz="quarter" idx="13" hasCustomPrompt="1"/>
          </p:nvPr>
        </p:nvSpPr>
        <p:spPr>
          <a:xfrm>
            <a:off x="419100" y="1047734"/>
            <a:ext cx="8302752" cy="221599"/>
          </a:xfrm>
          <a:prstGeom prst="rect">
            <a:avLst/>
          </a:prstGeom>
        </p:spPr>
        <p:txBody>
          <a:bodyPr lIns="0" tIns="0" rIns="0" bIns="0"/>
          <a:lstStyle>
            <a:lvl1pPr marL="0" indent="0">
              <a:buNone/>
              <a:defRPr sz="1600">
                <a:solidFill>
                  <a:srgbClr val="404040"/>
                </a:solidFill>
              </a:defRPr>
            </a:lvl1pPr>
          </a:lstStyle>
          <a:p>
            <a:pPr lvl="0"/>
            <a:r>
              <a:rPr lang="en-US"/>
              <a:t>Click to edit subhead</a:t>
            </a:r>
          </a:p>
        </p:txBody>
      </p:sp>
      <p:sp>
        <p:nvSpPr>
          <p:cNvPr id="2" name="Title Placeholder"/>
          <p:cNvSpPr>
            <a:spLocks noGrp="1"/>
          </p:cNvSpPr>
          <p:nvPr>
            <p:ph type="title" hasCustomPrompt="1"/>
          </p:nvPr>
        </p:nvSpPr>
        <p:spPr/>
        <p:txBody>
          <a:bodyPr/>
          <a:lstStyle/>
          <a:p>
            <a:r>
              <a:rPr lang="en-US"/>
              <a:t>Click to edit title of style</a:t>
            </a:r>
            <a:endParaRPr lang="en-US" dirty="0"/>
          </a:p>
        </p:txBody>
      </p:sp>
    </p:spTree>
    <p:extLst>
      <p:ext uri="{BB962C8B-B14F-4D97-AF65-F5344CB8AC3E}">
        <p14:creationId xmlns:p14="http://schemas.microsoft.com/office/powerpoint/2010/main" val="18904629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Footnotes">
    <p:spTree>
      <p:nvGrpSpPr>
        <p:cNvPr id="1" name=""/>
        <p:cNvGrpSpPr/>
        <p:nvPr/>
      </p:nvGrpSpPr>
      <p:grpSpPr>
        <a:xfrm>
          <a:off x="0" y="0"/>
          <a:ext cx="0" cy="0"/>
          <a:chOff x="0" y="0"/>
          <a:chExt cx="0" cy="0"/>
        </a:xfrm>
      </p:grpSpPr>
      <p:sp>
        <p:nvSpPr>
          <p:cNvPr id="2" name="Title Placeholder"/>
          <p:cNvSpPr>
            <a:spLocks noGrp="1"/>
          </p:cNvSpPr>
          <p:nvPr>
            <p:ph type="title" hasCustomPrompt="1"/>
          </p:nvPr>
        </p:nvSpPr>
        <p:spPr/>
        <p:txBody>
          <a:bodyPr/>
          <a:lstStyle/>
          <a:p>
            <a:r>
              <a:rPr lang="en-US"/>
              <a:t>Click to edit title of style</a:t>
            </a:r>
            <a:endParaRPr lang="en-US" dirty="0"/>
          </a:p>
        </p:txBody>
      </p:sp>
      <p:sp>
        <p:nvSpPr>
          <p:cNvPr id="5" name="Footnote Placeholder">
            <a:extLst>
              <a:ext uri="{FF2B5EF4-FFF2-40B4-BE49-F238E27FC236}">
                <a16:creationId xmlns:a16="http://schemas.microsoft.com/office/drawing/2014/main" id="{ED32940E-19E8-C14E-9487-CEF7160E29F6}"/>
              </a:ext>
            </a:extLst>
          </p:cNvPr>
          <p:cNvSpPr>
            <a:spLocks noGrp="1"/>
          </p:cNvSpPr>
          <p:nvPr>
            <p:ph type="body" sz="quarter" idx="15" hasCustomPrompt="1"/>
          </p:nvPr>
        </p:nvSpPr>
        <p:spPr>
          <a:xfrm>
            <a:off x="419100" y="6387491"/>
            <a:ext cx="4152901" cy="409343"/>
          </a:xfrm>
          <a:prstGeom prst="rect">
            <a:avLst/>
          </a:prstGeom>
        </p:spPr>
        <p:txBody>
          <a:bodyPr wrap="square" lIns="0" tIns="0" rIns="0" bIns="0" anchor="b" anchorCtr="0">
            <a:spAutoFit/>
          </a:bodyPr>
          <a:lstStyle>
            <a:lvl1pPr marL="114300" indent="-114300">
              <a:spcBef>
                <a:spcPts val="0"/>
              </a:spcBef>
              <a:spcAft>
                <a:spcPts val="300"/>
              </a:spcAft>
              <a:buClr>
                <a:srgbClr val="404040"/>
              </a:buClr>
              <a:buFont typeface="+mj-lt"/>
              <a:buAutoNum type="arabicPeriod"/>
              <a:tabLst/>
              <a:defRPr sz="800">
                <a:solidFill>
                  <a:srgbClr val="404040"/>
                </a:solidFill>
              </a:defRPr>
            </a:lvl1pPr>
          </a:lstStyle>
          <a:p>
            <a:pPr lvl="0"/>
            <a:r>
              <a:rPr lang="en-US"/>
              <a:t>Edit footnote text</a:t>
            </a:r>
          </a:p>
          <a:p>
            <a:pPr lvl="0"/>
            <a:r>
              <a:rPr lang="en-US"/>
              <a:t>Edit footnote text</a:t>
            </a:r>
          </a:p>
          <a:p>
            <a:pPr lvl="0"/>
            <a:r>
              <a:rPr lang="en-US"/>
              <a:t>Edit footnote text</a:t>
            </a:r>
          </a:p>
        </p:txBody>
      </p:sp>
    </p:spTree>
    <p:extLst>
      <p:ext uri="{BB962C8B-B14F-4D97-AF65-F5344CB8AC3E}">
        <p14:creationId xmlns:p14="http://schemas.microsoft.com/office/powerpoint/2010/main" val="34118042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Placeholder"/>
          <p:cNvSpPr>
            <a:spLocks noGrp="1"/>
          </p:cNvSpPr>
          <p:nvPr>
            <p:ph type="title" hasCustomPrompt="1"/>
          </p:nvPr>
        </p:nvSpPr>
        <p:spPr/>
        <p:txBody>
          <a:bodyPr/>
          <a:lstStyle/>
          <a:p>
            <a:r>
              <a:rPr lang="en-US"/>
              <a:t>Click to edit title of style</a:t>
            </a:r>
            <a:endParaRPr lang="en-US" dirty="0"/>
          </a:p>
        </p:txBody>
      </p:sp>
    </p:spTree>
    <p:extLst>
      <p:ext uri="{BB962C8B-B14F-4D97-AF65-F5344CB8AC3E}">
        <p14:creationId xmlns:p14="http://schemas.microsoft.com/office/powerpoint/2010/main" val="21308552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head, Content">
    <p:spTree>
      <p:nvGrpSpPr>
        <p:cNvPr id="1" name=""/>
        <p:cNvGrpSpPr/>
        <p:nvPr/>
      </p:nvGrpSpPr>
      <p:grpSpPr>
        <a:xfrm>
          <a:off x="0" y="0"/>
          <a:ext cx="0" cy="0"/>
          <a:chOff x="0" y="0"/>
          <a:chExt cx="0" cy="0"/>
        </a:xfrm>
      </p:grpSpPr>
      <p:sp>
        <p:nvSpPr>
          <p:cNvPr id="11" name="Content Placeholder">
            <a:extLst>
              <a:ext uri="{FF2B5EF4-FFF2-40B4-BE49-F238E27FC236}">
                <a16:creationId xmlns:a16="http://schemas.microsoft.com/office/drawing/2014/main" id="{95B0088D-F002-654A-95EA-235CB2976B26}"/>
              </a:ext>
            </a:extLst>
          </p:cNvPr>
          <p:cNvSpPr>
            <a:spLocks noGrp="1"/>
          </p:cNvSpPr>
          <p:nvPr>
            <p:ph type="body" sz="quarter" idx="14"/>
          </p:nvPr>
        </p:nvSpPr>
        <p:spPr>
          <a:xfrm>
            <a:off x="419100" y="1453896"/>
            <a:ext cx="8305800" cy="1785104"/>
          </a:xfrm>
          <a:prstGeom prst="rect">
            <a:avLst/>
          </a:prstGeom>
        </p:spPr>
        <p:txBody>
          <a:bodyPr wrap="square" lIns="0" tIns="0" rIns="0" bIns="0">
            <a:spAutoFit/>
          </a:bodyPr>
          <a:lstStyle>
            <a:lvl1pPr marL="174625" indent="-174625">
              <a:spcBef>
                <a:spcPts val="0"/>
              </a:spcBef>
              <a:spcAft>
                <a:spcPts val="900"/>
              </a:spcAft>
              <a:buClr>
                <a:srgbClr val="404040"/>
              </a:buClr>
              <a:tabLst/>
              <a:defRPr sz="1800">
                <a:solidFill>
                  <a:srgbClr val="404040"/>
                </a:solidFill>
              </a:defRPr>
            </a:lvl1pPr>
            <a:lvl2pPr marL="400050" indent="-174625">
              <a:spcBef>
                <a:spcPts val="0"/>
              </a:spcBef>
              <a:spcAft>
                <a:spcPts val="1100"/>
              </a:spcAft>
              <a:buClr>
                <a:srgbClr val="404040"/>
              </a:buClr>
              <a:tabLst/>
              <a:defRPr sz="1800">
                <a:solidFill>
                  <a:srgbClr val="404040"/>
                </a:solidFill>
              </a:defRPr>
            </a:lvl2pPr>
            <a:lvl3pPr marL="628650" indent="-174625">
              <a:spcBef>
                <a:spcPts val="0"/>
              </a:spcBef>
              <a:spcAft>
                <a:spcPts val="1100"/>
              </a:spcAft>
              <a:buClr>
                <a:srgbClr val="404040"/>
              </a:buClr>
              <a:tabLst/>
              <a:defRPr sz="1800">
                <a:solidFill>
                  <a:srgbClr val="404040"/>
                </a:solidFill>
              </a:defRPr>
            </a:lvl3pPr>
            <a:lvl4pPr marL="857250" indent="-174625">
              <a:spcBef>
                <a:spcPts val="0"/>
              </a:spcBef>
              <a:spcAft>
                <a:spcPts val="1100"/>
              </a:spcAft>
              <a:buClr>
                <a:srgbClr val="404040"/>
              </a:buClr>
              <a:tabLst/>
              <a:defRPr sz="1800">
                <a:solidFill>
                  <a:srgbClr val="404040"/>
                </a:solidFill>
              </a:defRPr>
            </a:lvl4pPr>
            <a:lvl5pPr marL="1085850" indent="-174625">
              <a:spcBef>
                <a:spcPts val="0"/>
              </a:spcBef>
              <a:spcAft>
                <a:spcPts val="1100"/>
              </a:spcAft>
              <a:buClr>
                <a:srgbClr val="404040"/>
              </a:buClr>
              <a:tabLst/>
              <a:defRPr sz="1800">
                <a:solidFill>
                  <a:srgbClr val="40404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head Placeholder">
            <a:extLst>
              <a:ext uri="{FF2B5EF4-FFF2-40B4-BE49-F238E27FC236}">
                <a16:creationId xmlns:a16="http://schemas.microsoft.com/office/drawing/2014/main" id="{8BAE0C8D-9311-C549-9651-2206D63565E0}"/>
              </a:ext>
            </a:extLst>
          </p:cNvPr>
          <p:cNvSpPr>
            <a:spLocks noGrp="1"/>
          </p:cNvSpPr>
          <p:nvPr>
            <p:ph type="body" sz="quarter" idx="13" hasCustomPrompt="1"/>
          </p:nvPr>
        </p:nvSpPr>
        <p:spPr>
          <a:xfrm>
            <a:off x="419558" y="1047734"/>
            <a:ext cx="8302752" cy="221599"/>
          </a:xfrm>
          <a:prstGeom prst="rect">
            <a:avLst/>
          </a:prstGeom>
        </p:spPr>
        <p:txBody>
          <a:bodyPr lIns="0" tIns="0" rIns="0" bIns="0"/>
          <a:lstStyle>
            <a:lvl1pPr marL="0" indent="0">
              <a:buNone/>
              <a:defRPr sz="1600">
                <a:solidFill>
                  <a:srgbClr val="404040"/>
                </a:solidFill>
              </a:defRPr>
            </a:lvl1pPr>
          </a:lstStyle>
          <a:p>
            <a:pPr lvl="0"/>
            <a:r>
              <a:rPr lang="en-US"/>
              <a:t>Click to edit subhead</a:t>
            </a:r>
          </a:p>
        </p:txBody>
      </p:sp>
      <p:sp>
        <p:nvSpPr>
          <p:cNvPr id="7" name="Title Placeholder">
            <a:extLst>
              <a:ext uri="{FF2B5EF4-FFF2-40B4-BE49-F238E27FC236}">
                <a16:creationId xmlns:a16="http://schemas.microsoft.com/office/drawing/2014/main" id="{34394691-FC2F-F349-96EB-F792F3F25D02}"/>
              </a:ext>
            </a:extLst>
          </p:cNvPr>
          <p:cNvSpPr>
            <a:spLocks noGrp="1"/>
          </p:cNvSpPr>
          <p:nvPr>
            <p:ph type="title" hasCustomPrompt="1"/>
          </p:nvPr>
        </p:nvSpPr>
        <p:spPr>
          <a:xfrm>
            <a:off x="419100" y="559579"/>
            <a:ext cx="8305800" cy="304699"/>
          </a:xfrm>
          <a:prstGeom prst="rect">
            <a:avLst/>
          </a:prstGeom>
        </p:spPr>
        <p:txBody>
          <a:bodyPr vert="horz" wrap="square" lIns="0" tIns="0" rIns="0" bIns="0" rtlCol="0" anchor="b" anchorCtr="0">
            <a:spAutoFit/>
          </a:bodyPr>
          <a:lstStyle/>
          <a:p>
            <a:r>
              <a:rPr lang="en-US"/>
              <a:t>Click to edit title of style</a:t>
            </a:r>
            <a:endParaRPr lang="en-US" dirty="0"/>
          </a:p>
        </p:txBody>
      </p:sp>
    </p:spTree>
    <p:extLst>
      <p:ext uri="{BB962C8B-B14F-4D97-AF65-F5344CB8AC3E}">
        <p14:creationId xmlns:p14="http://schemas.microsoft.com/office/powerpoint/2010/main" val="9745130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ing Slide">
    <p:spTree>
      <p:nvGrpSpPr>
        <p:cNvPr id="1" name=""/>
        <p:cNvGrpSpPr/>
        <p:nvPr/>
      </p:nvGrpSpPr>
      <p:grpSpPr>
        <a:xfrm>
          <a:off x="0" y="0"/>
          <a:ext cx="0" cy="0"/>
          <a:chOff x="0" y="0"/>
          <a:chExt cx="0" cy="0"/>
        </a:xfrm>
      </p:grpSpPr>
      <p:sp>
        <p:nvSpPr>
          <p:cNvPr id="13" name="Blue Background">
            <a:extLst>
              <a:ext uri="{FF2B5EF4-FFF2-40B4-BE49-F238E27FC236}">
                <a16:creationId xmlns:a16="http://schemas.microsoft.com/office/drawing/2014/main" id="{E730F9FC-7DC2-4F46-A196-130B9CC9F8CE}"/>
              </a:ext>
            </a:extLst>
          </p:cNvPr>
          <p:cNvSpPr/>
          <p:nvPr userDrawn="1"/>
        </p:nvSpPr>
        <p:spPr>
          <a:xfrm>
            <a:off x="0" y="881910"/>
            <a:ext cx="9144000" cy="5616009"/>
          </a:xfrm>
          <a:prstGeom prst="rect">
            <a:avLst/>
          </a:prstGeom>
          <a:gradFill>
            <a:gsLst>
              <a:gs pos="0">
                <a:schemeClr val="bg1"/>
              </a:gs>
              <a:gs pos="100000">
                <a:srgbClr val="D1DFF1">
                  <a:alpha val="5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a:extLst>
              <a:ext uri="{FF2B5EF4-FFF2-40B4-BE49-F238E27FC236}">
                <a16:creationId xmlns:a16="http://schemas.microsoft.com/office/drawing/2014/main" id="{436FF53A-8E28-0840-90DF-21A456FCD97D}"/>
              </a:ext>
            </a:extLst>
          </p:cNvPr>
          <p:cNvSpPr>
            <a:spLocks noGrp="1"/>
          </p:cNvSpPr>
          <p:nvPr>
            <p:ph type="title"/>
          </p:nvPr>
        </p:nvSpPr>
        <p:spPr>
          <a:xfrm>
            <a:off x="419100" y="3128149"/>
            <a:ext cx="8305800" cy="387798"/>
          </a:xfrm>
        </p:spPr>
        <p:txBody>
          <a:bodyPr/>
          <a:lstStyle>
            <a:lvl1pPr algn="ctr">
              <a:spcAft>
                <a:spcPts val="1200"/>
              </a:spcAft>
              <a:defRPr sz="2800"/>
            </a:lvl1pPr>
          </a:lstStyle>
          <a:p>
            <a:r>
              <a:rPr lang="en-US"/>
              <a:t>Click to edit Master title style</a:t>
            </a:r>
          </a:p>
        </p:txBody>
      </p:sp>
    </p:spTree>
    <p:extLst>
      <p:ext uri="{BB962C8B-B14F-4D97-AF65-F5344CB8AC3E}">
        <p14:creationId xmlns:p14="http://schemas.microsoft.com/office/powerpoint/2010/main" val="3739961149"/>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UE: Title, Content">
    <p:spTree>
      <p:nvGrpSpPr>
        <p:cNvPr id="1" name=""/>
        <p:cNvGrpSpPr/>
        <p:nvPr/>
      </p:nvGrpSpPr>
      <p:grpSpPr>
        <a:xfrm>
          <a:off x="0" y="0"/>
          <a:ext cx="0" cy="0"/>
          <a:chOff x="0" y="0"/>
          <a:chExt cx="0" cy="0"/>
        </a:xfrm>
      </p:grpSpPr>
      <p:sp>
        <p:nvSpPr>
          <p:cNvPr id="15" name="Blue Background">
            <a:extLst>
              <a:ext uri="{FF2B5EF4-FFF2-40B4-BE49-F238E27FC236}">
                <a16:creationId xmlns:a16="http://schemas.microsoft.com/office/drawing/2014/main" id="{33052B15-E341-E845-93CB-A1E43A4CAA95}"/>
              </a:ext>
            </a:extLst>
          </p:cNvPr>
          <p:cNvSpPr/>
          <p:nvPr userDrawn="1"/>
        </p:nvSpPr>
        <p:spPr>
          <a:xfrm>
            <a:off x="0" y="881910"/>
            <a:ext cx="9144000" cy="5616009"/>
          </a:xfrm>
          <a:prstGeom prst="rect">
            <a:avLst/>
          </a:prstGeom>
          <a:gradFill>
            <a:gsLst>
              <a:gs pos="0">
                <a:schemeClr val="bg1"/>
              </a:gs>
              <a:gs pos="100000">
                <a:srgbClr val="D1DFF1">
                  <a:alpha val="5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ontent Placeholder">
            <a:extLst>
              <a:ext uri="{FF2B5EF4-FFF2-40B4-BE49-F238E27FC236}">
                <a16:creationId xmlns:a16="http://schemas.microsoft.com/office/drawing/2014/main" id="{6F2B26E3-05F6-5C41-8801-1FEDC84D8E9C}"/>
              </a:ext>
            </a:extLst>
          </p:cNvPr>
          <p:cNvSpPr>
            <a:spLocks noGrp="1"/>
          </p:cNvSpPr>
          <p:nvPr>
            <p:ph type="body" sz="quarter" idx="14"/>
          </p:nvPr>
        </p:nvSpPr>
        <p:spPr>
          <a:xfrm>
            <a:off x="419100" y="1453896"/>
            <a:ext cx="8305800" cy="1785104"/>
          </a:xfrm>
          <a:prstGeom prst="rect">
            <a:avLst/>
          </a:prstGeom>
        </p:spPr>
        <p:txBody>
          <a:bodyPr wrap="square" lIns="0" tIns="0" rIns="0" bIns="0">
            <a:spAutoFit/>
          </a:bodyPr>
          <a:lstStyle>
            <a:lvl1pPr marL="174625" indent="-174625">
              <a:spcBef>
                <a:spcPts val="0"/>
              </a:spcBef>
              <a:spcAft>
                <a:spcPts val="900"/>
              </a:spcAft>
              <a:buClr>
                <a:srgbClr val="404040"/>
              </a:buClr>
              <a:tabLst/>
              <a:defRPr sz="1800">
                <a:solidFill>
                  <a:srgbClr val="404040"/>
                </a:solidFill>
              </a:defRPr>
            </a:lvl1pPr>
            <a:lvl2pPr marL="400050" indent="-174625">
              <a:spcBef>
                <a:spcPts val="0"/>
              </a:spcBef>
              <a:spcAft>
                <a:spcPts val="1100"/>
              </a:spcAft>
              <a:buClr>
                <a:srgbClr val="404040"/>
              </a:buClr>
              <a:tabLst/>
              <a:defRPr sz="1800">
                <a:solidFill>
                  <a:srgbClr val="404040"/>
                </a:solidFill>
              </a:defRPr>
            </a:lvl2pPr>
            <a:lvl3pPr marL="628650" indent="-174625">
              <a:spcBef>
                <a:spcPts val="0"/>
              </a:spcBef>
              <a:spcAft>
                <a:spcPts val="1100"/>
              </a:spcAft>
              <a:buClr>
                <a:srgbClr val="404040"/>
              </a:buClr>
              <a:tabLst/>
              <a:defRPr sz="1800">
                <a:solidFill>
                  <a:srgbClr val="404040"/>
                </a:solidFill>
              </a:defRPr>
            </a:lvl3pPr>
            <a:lvl4pPr marL="857250" indent="-174625">
              <a:spcBef>
                <a:spcPts val="0"/>
              </a:spcBef>
              <a:spcAft>
                <a:spcPts val="1100"/>
              </a:spcAft>
              <a:buClr>
                <a:srgbClr val="404040"/>
              </a:buClr>
              <a:tabLst/>
              <a:defRPr sz="1800">
                <a:solidFill>
                  <a:srgbClr val="404040"/>
                </a:solidFill>
              </a:defRPr>
            </a:lvl4pPr>
            <a:lvl5pPr marL="1085850" indent="-174625">
              <a:spcBef>
                <a:spcPts val="0"/>
              </a:spcBef>
              <a:spcAft>
                <a:spcPts val="1100"/>
              </a:spcAft>
              <a:buClr>
                <a:srgbClr val="404040"/>
              </a:buClr>
              <a:tabLst/>
              <a:defRPr sz="1800">
                <a:solidFill>
                  <a:srgbClr val="40404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a:extLst>
              <a:ext uri="{FF2B5EF4-FFF2-40B4-BE49-F238E27FC236}">
                <a16:creationId xmlns:a16="http://schemas.microsoft.com/office/drawing/2014/main" id="{34394691-FC2F-F349-96EB-F792F3F25D02}"/>
              </a:ext>
            </a:extLst>
          </p:cNvPr>
          <p:cNvSpPr>
            <a:spLocks noGrp="1"/>
          </p:cNvSpPr>
          <p:nvPr>
            <p:ph type="title" hasCustomPrompt="1"/>
          </p:nvPr>
        </p:nvSpPr>
        <p:spPr>
          <a:xfrm>
            <a:off x="419100" y="559579"/>
            <a:ext cx="8305800" cy="304699"/>
          </a:xfrm>
          <a:prstGeom prst="rect">
            <a:avLst/>
          </a:prstGeom>
        </p:spPr>
        <p:txBody>
          <a:bodyPr vert="horz" wrap="square" lIns="0" tIns="0" rIns="0" bIns="0" rtlCol="0" anchor="b" anchorCtr="0">
            <a:spAutoFit/>
          </a:bodyPr>
          <a:lstStyle/>
          <a:p>
            <a:r>
              <a:rPr lang="en-US"/>
              <a:t>Click to edit title of style</a:t>
            </a:r>
            <a:endParaRPr lang="en-US" dirty="0"/>
          </a:p>
        </p:txBody>
      </p:sp>
      <p:cxnSp>
        <p:nvCxnSpPr>
          <p:cNvPr id="16" name="Straight Connector 15">
            <a:extLst>
              <a:ext uri="{FF2B5EF4-FFF2-40B4-BE49-F238E27FC236}">
                <a16:creationId xmlns:a16="http://schemas.microsoft.com/office/drawing/2014/main" id="{C9877F7F-86BE-054C-86E7-256E0C25CD86}"/>
              </a:ext>
            </a:extLst>
          </p:cNvPr>
          <p:cNvCxnSpPr>
            <a:cxnSpLocks/>
          </p:cNvCxnSpPr>
          <p:nvPr userDrawn="1"/>
        </p:nvCxnSpPr>
        <p:spPr>
          <a:xfrm flipH="1">
            <a:off x="419100" y="961748"/>
            <a:ext cx="8305800" cy="0"/>
          </a:xfrm>
          <a:prstGeom prst="line">
            <a:avLst/>
          </a:prstGeom>
          <a:ln w="31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971317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UE: Title, Subhead">
    <p:spTree>
      <p:nvGrpSpPr>
        <p:cNvPr id="1" name=""/>
        <p:cNvGrpSpPr/>
        <p:nvPr/>
      </p:nvGrpSpPr>
      <p:grpSpPr>
        <a:xfrm>
          <a:off x="0" y="0"/>
          <a:ext cx="0" cy="0"/>
          <a:chOff x="0" y="0"/>
          <a:chExt cx="0" cy="0"/>
        </a:xfrm>
      </p:grpSpPr>
      <p:sp>
        <p:nvSpPr>
          <p:cNvPr id="14" name="Blue Background">
            <a:extLst>
              <a:ext uri="{FF2B5EF4-FFF2-40B4-BE49-F238E27FC236}">
                <a16:creationId xmlns:a16="http://schemas.microsoft.com/office/drawing/2014/main" id="{A3F438AC-453F-EF49-8886-11DD82A8BE7E}"/>
              </a:ext>
            </a:extLst>
          </p:cNvPr>
          <p:cNvSpPr/>
          <p:nvPr userDrawn="1"/>
        </p:nvSpPr>
        <p:spPr>
          <a:xfrm>
            <a:off x="0" y="881910"/>
            <a:ext cx="9144000" cy="5616009"/>
          </a:xfrm>
          <a:prstGeom prst="rect">
            <a:avLst/>
          </a:prstGeom>
          <a:gradFill>
            <a:gsLst>
              <a:gs pos="0">
                <a:schemeClr val="bg1"/>
              </a:gs>
              <a:gs pos="100000">
                <a:srgbClr val="D1DFF1">
                  <a:alpha val="5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ubhead Placeholder">
            <a:extLst>
              <a:ext uri="{FF2B5EF4-FFF2-40B4-BE49-F238E27FC236}">
                <a16:creationId xmlns:a16="http://schemas.microsoft.com/office/drawing/2014/main" id="{156C505B-F0B1-014F-9EF5-D45DD39620BC}"/>
              </a:ext>
            </a:extLst>
          </p:cNvPr>
          <p:cNvSpPr>
            <a:spLocks noGrp="1"/>
          </p:cNvSpPr>
          <p:nvPr>
            <p:ph type="body" sz="quarter" idx="13" hasCustomPrompt="1"/>
          </p:nvPr>
        </p:nvSpPr>
        <p:spPr>
          <a:xfrm>
            <a:off x="419100" y="1047734"/>
            <a:ext cx="8305800" cy="221599"/>
          </a:xfrm>
          <a:prstGeom prst="rect">
            <a:avLst/>
          </a:prstGeom>
        </p:spPr>
        <p:txBody>
          <a:bodyPr lIns="0" tIns="0" rIns="0" bIns="0"/>
          <a:lstStyle>
            <a:lvl1pPr marL="0" indent="0">
              <a:buNone/>
              <a:defRPr sz="1600">
                <a:solidFill>
                  <a:srgbClr val="404040"/>
                </a:solidFill>
              </a:defRPr>
            </a:lvl1pPr>
          </a:lstStyle>
          <a:p>
            <a:pPr lvl="0"/>
            <a:r>
              <a:rPr lang="en-US"/>
              <a:t>Click to edit subhead</a:t>
            </a:r>
          </a:p>
        </p:txBody>
      </p:sp>
      <p:sp>
        <p:nvSpPr>
          <p:cNvPr id="2" name="Title Placeholder"/>
          <p:cNvSpPr>
            <a:spLocks noGrp="1"/>
          </p:cNvSpPr>
          <p:nvPr>
            <p:ph type="title" hasCustomPrompt="1"/>
          </p:nvPr>
        </p:nvSpPr>
        <p:spPr/>
        <p:txBody>
          <a:bodyPr/>
          <a:lstStyle/>
          <a:p>
            <a:r>
              <a:rPr lang="en-US"/>
              <a:t>Click to edit title of style</a:t>
            </a:r>
            <a:endParaRPr lang="en-US" dirty="0"/>
          </a:p>
        </p:txBody>
      </p:sp>
      <p:cxnSp>
        <p:nvCxnSpPr>
          <p:cNvPr id="15" name="Straight Connector 14">
            <a:extLst>
              <a:ext uri="{FF2B5EF4-FFF2-40B4-BE49-F238E27FC236}">
                <a16:creationId xmlns:a16="http://schemas.microsoft.com/office/drawing/2014/main" id="{06B7DDD3-CE53-C240-BA7A-718FFAC1A9D5}"/>
              </a:ext>
            </a:extLst>
          </p:cNvPr>
          <p:cNvCxnSpPr>
            <a:cxnSpLocks/>
          </p:cNvCxnSpPr>
          <p:nvPr userDrawn="1"/>
        </p:nvCxnSpPr>
        <p:spPr>
          <a:xfrm flipH="1">
            <a:off x="419100" y="961748"/>
            <a:ext cx="8305800" cy="0"/>
          </a:xfrm>
          <a:prstGeom prst="line">
            <a:avLst/>
          </a:prstGeom>
          <a:ln w="31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56445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B">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0852335-FEF1-0D46-B8C3-FF779FEF32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30087" y="6227726"/>
            <a:ext cx="1683826" cy="290392"/>
          </a:xfrm>
          <a:prstGeom prst="rect">
            <a:avLst/>
          </a:prstGeom>
        </p:spPr>
      </p:pic>
      <p:sp>
        <p:nvSpPr>
          <p:cNvPr id="6" name="Text Placeholder 14">
            <a:extLst>
              <a:ext uri="{FF2B5EF4-FFF2-40B4-BE49-F238E27FC236}">
                <a16:creationId xmlns:a16="http://schemas.microsoft.com/office/drawing/2014/main" id="{31E972E3-35BA-FF4F-9180-DEA3FB3B3C4A}"/>
              </a:ext>
            </a:extLst>
          </p:cNvPr>
          <p:cNvSpPr>
            <a:spLocks noGrp="1"/>
          </p:cNvSpPr>
          <p:nvPr>
            <p:ph type="body" sz="quarter" idx="10" hasCustomPrompt="1"/>
          </p:nvPr>
        </p:nvSpPr>
        <p:spPr>
          <a:xfrm>
            <a:off x="419100" y="2303164"/>
            <a:ext cx="8305800" cy="498598"/>
          </a:xfrm>
          <a:prstGeom prst="rect">
            <a:avLst/>
          </a:prstGeom>
        </p:spPr>
        <p:txBody>
          <a:bodyPr/>
          <a:lstStyle>
            <a:lvl1pPr marL="0" indent="0" algn="ctr">
              <a:buNone/>
              <a:defRPr sz="3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Title of Presentation</a:t>
            </a:r>
          </a:p>
        </p:txBody>
      </p:sp>
      <p:sp>
        <p:nvSpPr>
          <p:cNvPr id="7" name="Text Placeholder 16">
            <a:extLst>
              <a:ext uri="{FF2B5EF4-FFF2-40B4-BE49-F238E27FC236}">
                <a16:creationId xmlns:a16="http://schemas.microsoft.com/office/drawing/2014/main" id="{7B47E2F5-3360-DB44-9B29-DBFDB4970593}"/>
              </a:ext>
            </a:extLst>
          </p:cNvPr>
          <p:cNvSpPr>
            <a:spLocks noGrp="1"/>
          </p:cNvSpPr>
          <p:nvPr>
            <p:ph type="body" sz="quarter" idx="11" hasCustomPrompt="1"/>
          </p:nvPr>
        </p:nvSpPr>
        <p:spPr>
          <a:xfrm>
            <a:off x="419100" y="3536539"/>
            <a:ext cx="8305800" cy="387798"/>
          </a:xfrm>
          <a:prstGeom prst="rect">
            <a:avLst/>
          </a:prstGeom>
        </p:spPr>
        <p:txBody>
          <a:bodyPr/>
          <a:lstStyle>
            <a:lvl1pPr marL="0" indent="0" algn="ctr">
              <a:buNone/>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Date</a:t>
            </a:r>
          </a:p>
        </p:txBody>
      </p:sp>
      <p:cxnSp>
        <p:nvCxnSpPr>
          <p:cNvPr id="5" name="Straight Connector 4">
            <a:extLst>
              <a:ext uri="{FF2B5EF4-FFF2-40B4-BE49-F238E27FC236}">
                <a16:creationId xmlns:a16="http://schemas.microsoft.com/office/drawing/2014/main" id="{61BA1E37-0D24-C24A-9EE6-064985A46A4F}"/>
              </a:ext>
            </a:extLst>
          </p:cNvPr>
          <p:cNvCxnSpPr>
            <a:cxnSpLocks/>
          </p:cNvCxnSpPr>
          <p:nvPr userDrawn="1"/>
        </p:nvCxnSpPr>
        <p:spPr>
          <a:xfrm flipH="1">
            <a:off x="419100" y="3154879"/>
            <a:ext cx="83058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59647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UE: Title">
    <p:spTree>
      <p:nvGrpSpPr>
        <p:cNvPr id="1" name=""/>
        <p:cNvGrpSpPr/>
        <p:nvPr/>
      </p:nvGrpSpPr>
      <p:grpSpPr>
        <a:xfrm>
          <a:off x="0" y="0"/>
          <a:ext cx="0" cy="0"/>
          <a:chOff x="0" y="0"/>
          <a:chExt cx="0" cy="0"/>
        </a:xfrm>
      </p:grpSpPr>
      <p:sp>
        <p:nvSpPr>
          <p:cNvPr id="12" name="Blue Background">
            <a:extLst>
              <a:ext uri="{FF2B5EF4-FFF2-40B4-BE49-F238E27FC236}">
                <a16:creationId xmlns:a16="http://schemas.microsoft.com/office/drawing/2014/main" id="{E3BEEA51-0AA8-A349-AE63-F22EDB8515E0}"/>
              </a:ext>
            </a:extLst>
          </p:cNvPr>
          <p:cNvSpPr/>
          <p:nvPr userDrawn="1"/>
        </p:nvSpPr>
        <p:spPr>
          <a:xfrm>
            <a:off x="0" y="881910"/>
            <a:ext cx="9144000" cy="5616009"/>
          </a:xfrm>
          <a:prstGeom prst="rect">
            <a:avLst/>
          </a:prstGeom>
          <a:gradFill>
            <a:gsLst>
              <a:gs pos="0">
                <a:schemeClr val="bg1"/>
              </a:gs>
              <a:gs pos="100000">
                <a:srgbClr val="D1DFF1">
                  <a:alpha val="5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p:cNvSpPr>
            <a:spLocks noGrp="1"/>
          </p:cNvSpPr>
          <p:nvPr>
            <p:ph type="title" hasCustomPrompt="1"/>
          </p:nvPr>
        </p:nvSpPr>
        <p:spPr/>
        <p:txBody>
          <a:bodyPr/>
          <a:lstStyle/>
          <a:p>
            <a:r>
              <a:rPr lang="en-US"/>
              <a:t>Click to edit title of style</a:t>
            </a:r>
            <a:endParaRPr lang="en-US" dirty="0"/>
          </a:p>
        </p:txBody>
      </p:sp>
      <p:cxnSp>
        <p:nvCxnSpPr>
          <p:cNvPr id="13" name="Straight Connector 12">
            <a:extLst>
              <a:ext uri="{FF2B5EF4-FFF2-40B4-BE49-F238E27FC236}">
                <a16:creationId xmlns:a16="http://schemas.microsoft.com/office/drawing/2014/main" id="{03DB8760-8981-FF47-8163-EF91C788F2D2}"/>
              </a:ext>
            </a:extLst>
          </p:cNvPr>
          <p:cNvCxnSpPr>
            <a:cxnSpLocks/>
          </p:cNvCxnSpPr>
          <p:nvPr userDrawn="1"/>
        </p:nvCxnSpPr>
        <p:spPr>
          <a:xfrm flipH="1">
            <a:off x="419100" y="961748"/>
            <a:ext cx="8305800" cy="0"/>
          </a:xfrm>
          <a:prstGeom prst="line">
            <a:avLst/>
          </a:prstGeom>
          <a:ln w="31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33494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UE: Title, Subhead, Content">
    <p:spTree>
      <p:nvGrpSpPr>
        <p:cNvPr id="1" name=""/>
        <p:cNvGrpSpPr/>
        <p:nvPr/>
      </p:nvGrpSpPr>
      <p:grpSpPr>
        <a:xfrm>
          <a:off x="0" y="0"/>
          <a:ext cx="0" cy="0"/>
          <a:chOff x="0" y="0"/>
          <a:chExt cx="0" cy="0"/>
        </a:xfrm>
      </p:grpSpPr>
      <p:sp>
        <p:nvSpPr>
          <p:cNvPr id="18" name="Blue Background">
            <a:extLst>
              <a:ext uri="{FF2B5EF4-FFF2-40B4-BE49-F238E27FC236}">
                <a16:creationId xmlns:a16="http://schemas.microsoft.com/office/drawing/2014/main" id="{F4756D6C-B828-4049-89E1-75833217CC37}"/>
              </a:ext>
            </a:extLst>
          </p:cNvPr>
          <p:cNvSpPr/>
          <p:nvPr userDrawn="1"/>
        </p:nvSpPr>
        <p:spPr>
          <a:xfrm>
            <a:off x="0" y="881910"/>
            <a:ext cx="9144000" cy="5616009"/>
          </a:xfrm>
          <a:prstGeom prst="rect">
            <a:avLst/>
          </a:prstGeom>
          <a:gradFill>
            <a:gsLst>
              <a:gs pos="0">
                <a:schemeClr val="bg1"/>
              </a:gs>
              <a:gs pos="100000">
                <a:srgbClr val="D1DFF1">
                  <a:alpha val="5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ntent Placeholder">
            <a:extLst>
              <a:ext uri="{FF2B5EF4-FFF2-40B4-BE49-F238E27FC236}">
                <a16:creationId xmlns:a16="http://schemas.microsoft.com/office/drawing/2014/main" id="{95B0088D-F002-654A-95EA-235CB2976B26}"/>
              </a:ext>
            </a:extLst>
          </p:cNvPr>
          <p:cNvSpPr>
            <a:spLocks noGrp="1"/>
          </p:cNvSpPr>
          <p:nvPr>
            <p:ph type="body" sz="quarter" idx="14"/>
          </p:nvPr>
        </p:nvSpPr>
        <p:spPr>
          <a:xfrm>
            <a:off x="419100" y="1453896"/>
            <a:ext cx="8305800" cy="1785104"/>
          </a:xfrm>
          <a:prstGeom prst="rect">
            <a:avLst/>
          </a:prstGeom>
        </p:spPr>
        <p:txBody>
          <a:bodyPr wrap="square" lIns="0" tIns="0" rIns="0" bIns="0">
            <a:spAutoFit/>
          </a:bodyPr>
          <a:lstStyle>
            <a:lvl1pPr marL="174625" indent="-174625">
              <a:spcBef>
                <a:spcPts val="0"/>
              </a:spcBef>
              <a:spcAft>
                <a:spcPts val="900"/>
              </a:spcAft>
              <a:buClr>
                <a:srgbClr val="404040"/>
              </a:buClr>
              <a:tabLst/>
              <a:defRPr sz="1800">
                <a:solidFill>
                  <a:srgbClr val="404040"/>
                </a:solidFill>
              </a:defRPr>
            </a:lvl1pPr>
            <a:lvl2pPr marL="400050" indent="-174625">
              <a:spcBef>
                <a:spcPts val="0"/>
              </a:spcBef>
              <a:spcAft>
                <a:spcPts val="1100"/>
              </a:spcAft>
              <a:buClr>
                <a:srgbClr val="404040"/>
              </a:buClr>
              <a:tabLst/>
              <a:defRPr sz="1800">
                <a:solidFill>
                  <a:srgbClr val="404040"/>
                </a:solidFill>
              </a:defRPr>
            </a:lvl2pPr>
            <a:lvl3pPr marL="628650" indent="-174625">
              <a:spcBef>
                <a:spcPts val="0"/>
              </a:spcBef>
              <a:spcAft>
                <a:spcPts val="1100"/>
              </a:spcAft>
              <a:buClr>
                <a:srgbClr val="404040"/>
              </a:buClr>
              <a:tabLst/>
              <a:defRPr sz="1800">
                <a:solidFill>
                  <a:srgbClr val="404040"/>
                </a:solidFill>
              </a:defRPr>
            </a:lvl3pPr>
            <a:lvl4pPr marL="857250" indent="-174625">
              <a:spcBef>
                <a:spcPts val="0"/>
              </a:spcBef>
              <a:spcAft>
                <a:spcPts val="1100"/>
              </a:spcAft>
              <a:buClr>
                <a:srgbClr val="404040"/>
              </a:buClr>
              <a:tabLst/>
              <a:defRPr sz="1800">
                <a:solidFill>
                  <a:srgbClr val="404040"/>
                </a:solidFill>
              </a:defRPr>
            </a:lvl4pPr>
            <a:lvl5pPr marL="1085850" indent="-174625">
              <a:spcBef>
                <a:spcPts val="0"/>
              </a:spcBef>
              <a:spcAft>
                <a:spcPts val="1100"/>
              </a:spcAft>
              <a:buClr>
                <a:srgbClr val="404040"/>
              </a:buClr>
              <a:tabLst/>
              <a:defRPr sz="1800">
                <a:solidFill>
                  <a:srgbClr val="40404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head Placeholder">
            <a:extLst>
              <a:ext uri="{FF2B5EF4-FFF2-40B4-BE49-F238E27FC236}">
                <a16:creationId xmlns:a16="http://schemas.microsoft.com/office/drawing/2014/main" id="{8BAE0C8D-9311-C549-9651-2206D63565E0}"/>
              </a:ext>
            </a:extLst>
          </p:cNvPr>
          <p:cNvSpPr>
            <a:spLocks noGrp="1"/>
          </p:cNvSpPr>
          <p:nvPr>
            <p:ph type="body" sz="quarter" idx="13" hasCustomPrompt="1"/>
          </p:nvPr>
        </p:nvSpPr>
        <p:spPr>
          <a:xfrm>
            <a:off x="419100" y="1047734"/>
            <a:ext cx="8302752" cy="221599"/>
          </a:xfrm>
          <a:prstGeom prst="rect">
            <a:avLst/>
          </a:prstGeom>
        </p:spPr>
        <p:txBody>
          <a:bodyPr lIns="0" tIns="0" rIns="0" bIns="0"/>
          <a:lstStyle>
            <a:lvl1pPr marL="0" indent="0">
              <a:buNone/>
              <a:defRPr sz="1600">
                <a:solidFill>
                  <a:srgbClr val="404040"/>
                </a:solidFill>
              </a:defRPr>
            </a:lvl1pPr>
          </a:lstStyle>
          <a:p>
            <a:pPr lvl="0"/>
            <a:r>
              <a:rPr lang="en-US"/>
              <a:t>Click to edit subhead</a:t>
            </a:r>
          </a:p>
        </p:txBody>
      </p:sp>
      <p:sp>
        <p:nvSpPr>
          <p:cNvPr id="7" name="Title Placeholder">
            <a:extLst>
              <a:ext uri="{FF2B5EF4-FFF2-40B4-BE49-F238E27FC236}">
                <a16:creationId xmlns:a16="http://schemas.microsoft.com/office/drawing/2014/main" id="{34394691-FC2F-F349-96EB-F792F3F25D02}"/>
              </a:ext>
            </a:extLst>
          </p:cNvPr>
          <p:cNvSpPr>
            <a:spLocks noGrp="1"/>
          </p:cNvSpPr>
          <p:nvPr>
            <p:ph type="title" hasCustomPrompt="1"/>
          </p:nvPr>
        </p:nvSpPr>
        <p:spPr>
          <a:xfrm>
            <a:off x="419100" y="559579"/>
            <a:ext cx="8305800" cy="304699"/>
          </a:xfrm>
          <a:prstGeom prst="rect">
            <a:avLst/>
          </a:prstGeom>
        </p:spPr>
        <p:txBody>
          <a:bodyPr vert="horz" wrap="square" lIns="0" tIns="0" rIns="0" bIns="0" rtlCol="0" anchor="b" anchorCtr="0">
            <a:spAutoFit/>
          </a:bodyPr>
          <a:lstStyle/>
          <a:p>
            <a:r>
              <a:rPr lang="en-US"/>
              <a:t>Click to edit title of style</a:t>
            </a:r>
            <a:endParaRPr lang="en-US" dirty="0"/>
          </a:p>
        </p:txBody>
      </p:sp>
      <p:cxnSp>
        <p:nvCxnSpPr>
          <p:cNvPr id="19" name="Straight Connector 18">
            <a:extLst>
              <a:ext uri="{FF2B5EF4-FFF2-40B4-BE49-F238E27FC236}">
                <a16:creationId xmlns:a16="http://schemas.microsoft.com/office/drawing/2014/main" id="{CFB8F602-BC5F-8F41-8CEB-DE3B662D7AFF}"/>
              </a:ext>
            </a:extLst>
          </p:cNvPr>
          <p:cNvCxnSpPr>
            <a:cxnSpLocks/>
          </p:cNvCxnSpPr>
          <p:nvPr userDrawn="1"/>
        </p:nvCxnSpPr>
        <p:spPr>
          <a:xfrm>
            <a:off x="419100" y="961748"/>
            <a:ext cx="8305800" cy="0"/>
          </a:xfrm>
          <a:prstGeom prst="line">
            <a:avLst/>
          </a:prstGeom>
          <a:ln w="31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99083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sp>
        <p:nvSpPr>
          <p:cNvPr id="11" name="Blue Background">
            <a:extLst>
              <a:ext uri="{FF2B5EF4-FFF2-40B4-BE49-F238E27FC236}">
                <a16:creationId xmlns:a16="http://schemas.microsoft.com/office/drawing/2014/main" id="{F26F4BAA-5494-7C40-95FA-9ECD4086F84B}"/>
              </a:ext>
            </a:extLst>
          </p:cNvPr>
          <p:cNvSpPr/>
          <p:nvPr userDrawn="1"/>
        </p:nvSpPr>
        <p:spPr>
          <a:xfrm>
            <a:off x="0" y="881910"/>
            <a:ext cx="9144000" cy="5616009"/>
          </a:xfrm>
          <a:prstGeom prst="rect">
            <a:avLst/>
          </a:prstGeom>
          <a:gradFill>
            <a:gsLst>
              <a:gs pos="0">
                <a:schemeClr val="bg1"/>
              </a:gs>
              <a:gs pos="100000">
                <a:srgbClr val="D1DFF1">
                  <a:alpha val="5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589623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600201"/>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2970EC71-22AD-794B-8AF9-594F1B25587C}"/>
              </a:ext>
            </a:extLst>
          </p:cNvPr>
          <p:cNvSpPr>
            <a:spLocks noGrp="1"/>
          </p:cNvSpPr>
          <p:nvPr>
            <p:ph type="sldNum" sz="quarter" idx="4"/>
          </p:nvPr>
        </p:nvSpPr>
        <p:spPr>
          <a:xfrm>
            <a:off x="8220075" y="6566773"/>
            <a:ext cx="501777" cy="184666"/>
          </a:xfrm>
          <a:prstGeom prst="rect">
            <a:avLst/>
          </a:prstGeom>
        </p:spPr>
        <p:txBody>
          <a:bodyPr vert="horz" wrap="square" lIns="0" tIns="0" rIns="0" bIns="0" rtlCol="0" anchor="b" anchorCtr="0">
            <a:spAutoFit/>
          </a:bodyPr>
          <a:lstStyle>
            <a:lvl1pPr algn="r">
              <a:defRPr sz="1000">
                <a:solidFill>
                  <a:srgbClr val="404040"/>
                </a:solidFill>
              </a:defRPr>
            </a:lvl1pPr>
          </a:lstStyle>
          <a:p>
            <a:r>
              <a:rPr lang="en-US" sz="1200">
                <a:solidFill>
                  <a:srgbClr val="5FA4CE"/>
                </a:solidFill>
              </a:rPr>
              <a:t>|</a:t>
            </a:r>
            <a:r>
              <a:rPr lang="en-US"/>
              <a:t>     </a:t>
            </a:r>
            <a:fld id="{7382EA2F-0139-5545-B2F7-0771B570C23C}" type="slidenum">
              <a:rPr lang="en-US" smtClean="0"/>
              <a:pPr/>
              <a:t>‹#›</a:t>
            </a:fld>
            <a:endParaRPr lang="en-US"/>
          </a:p>
        </p:txBody>
      </p:sp>
    </p:spTree>
    <p:extLst>
      <p:ext uri="{BB962C8B-B14F-4D97-AF65-F5344CB8AC3E}">
        <p14:creationId xmlns:p14="http://schemas.microsoft.com/office/powerpoint/2010/main" val="13791528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C">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0852335-FEF1-0D46-B8C3-FF779FEF32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30087" y="6227726"/>
            <a:ext cx="1683826" cy="290392"/>
          </a:xfrm>
          <a:prstGeom prst="rect">
            <a:avLst/>
          </a:prstGeom>
        </p:spPr>
      </p:pic>
      <p:sp>
        <p:nvSpPr>
          <p:cNvPr id="6" name="Text Placeholder 14">
            <a:extLst>
              <a:ext uri="{FF2B5EF4-FFF2-40B4-BE49-F238E27FC236}">
                <a16:creationId xmlns:a16="http://schemas.microsoft.com/office/drawing/2014/main" id="{31E972E3-35BA-FF4F-9180-DEA3FB3B3C4A}"/>
              </a:ext>
            </a:extLst>
          </p:cNvPr>
          <p:cNvSpPr>
            <a:spLocks noGrp="1"/>
          </p:cNvSpPr>
          <p:nvPr>
            <p:ph type="body" sz="quarter" idx="10" hasCustomPrompt="1"/>
          </p:nvPr>
        </p:nvSpPr>
        <p:spPr>
          <a:xfrm>
            <a:off x="419100" y="2303164"/>
            <a:ext cx="8305800" cy="498598"/>
          </a:xfrm>
          <a:prstGeom prst="rect">
            <a:avLst/>
          </a:prstGeom>
        </p:spPr>
        <p:txBody>
          <a:bodyPr/>
          <a:lstStyle>
            <a:lvl1pPr marL="0" indent="0" algn="ctr">
              <a:buNone/>
              <a:defRPr sz="3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Title of Presentation</a:t>
            </a:r>
          </a:p>
        </p:txBody>
      </p:sp>
      <p:sp>
        <p:nvSpPr>
          <p:cNvPr id="7" name="Text Placeholder 16">
            <a:extLst>
              <a:ext uri="{FF2B5EF4-FFF2-40B4-BE49-F238E27FC236}">
                <a16:creationId xmlns:a16="http://schemas.microsoft.com/office/drawing/2014/main" id="{7B47E2F5-3360-DB44-9B29-DBFDB4970593}"/>
              </a:ext>
            </a:extLst>
          </p:cNvPr>
          <p:cNvSpPr>
            <a:spLocks noGrp="1"/>
          </p:cNvSpPr>
          <p:nvPr>
            <p:ph type="body" sz="quarter" idx="11" hasCustomPrompt="1"/>
          </p:nvPr>
        </p:nvSpPr>
        <p:spPr>
          <a:xfrm>
            <a:off x="419100" y="3536539"/>
            <a:ext cx="8305800" cy="387798"/>
          </a:xfrm>
          <a:prstGeom prst="rect">
            <a:avLst/>
          </a:prstGeom>
        </p:spPr>
        <p:txBody>
          <a:bodyPr/>
          <a:lstStyle>
            <a:lvl1pPr marL="0" indent="0" algn="ctr">
              <a:buNone/>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Date</a:t>
            </a:r>
          </a:p>
        </p:txBody>
      </p:sp>
      <p:cxnSp>
        <p:nvCxnSpPr>
          <p:cNvPr id="5" name="Straight Connector 4">
            <a:extLst>
              <a:ext uri="{FF2B5EF4-FFF2-40B4-BE49-F238E27FC236}">
                <a16:creationId xmlns:a16="http://schemas.microsoft.com/office/drawing/2014/main" id="{61BA1E37-0D24-C24A-9EE6-064985A46A4F}"/>
              </a:ext>
            </a:extLst>
          </p:cNvPr>
          <p:cNvCxnSpPr>
            <a:cxnSpLocks/>
          </p:cNvCxnSpPr>
          <p:nvPr userDrawn="1"/>
        </p:nvCxnSpPr>
        <p:spPr>
          <a:xfrm flipH="1">
            <a:off x="419100" y="3154879"/>
            <a:ext cx="83058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69401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D">
    <p:bg>
      <p:bgPr>
        <a:gradFill>
          <a:gsLst>
            <a:gs pos="0">
              <a:schemeClr val="accent1">
                <a:lumMod val="40000"/>
                <a:lumOff val="60000"/>
              </a:schemeClr>
            </a:gs>
            <a:gs pos="46000">
              <a:srgbClr val="0A4A8E"/>
            </a:gs>
            <a:gs pos="100000">
              <a:srgbClr val="0E294A"/>
            </a:gs>
          </a:gsLst>
          <a:path path="circle">
            <a:fillToRect l="50000" t="130000" r="50000" b="-30000"/>
          </a:path>
        </a:gra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0852335-FEF1-0D46-B8C3-FF779FEF328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30087" y="6227726"/>
            <a:ext cx="1683826" cy="290392"/>
          </a:xfrm>
          <a:prstGeom prst="rect">
            <a:avLst/>
          </a:prstGeom>
        </p:spPr>
      </p:pic>
      <p:sp>
        <p:nvSpPr>
          <p:cNvPr id="6" name="Text Placeholder 14">
            <a:extLst>
              <a:ext uri="{FF2B5EF4-FFF2-40B4-BE49-F238E27FC236}">
                <a16:creationId xmlns:a16="http://schemas.microsoft.com/office/drawing/2014/main" id="{31E972E3-35BA-FF4F-9180-DEA3FB3B3C4A}"/>
              </a:ext>
            </a:extLst>
          </p:cNvPr>
          <p:cNvSpPr>
            <a:spLocks noGrp="1"/>
          </p:cNvSpPr>
          <p:nvPr>
            <p:ph type="body" sz="quarter" idx="10" hasCustomPrompt="1"/>
          </p:nvPr>
        </p:nvSpPr>
        <p:spPr>
          <a:xfrm>
            <a:off x="419100" y="2303164"/>
            <a:ext cx="8305800" cy="498598"/>
          </a:xfrm>
          <a:prstGeom prst="rect">
            <a:avLst/>
          </a:prstGeom>
        </p:spPr>
        <p:txBody>
          <a:bodyPr/>
          <a:lstStyle>
            <a:lvl1pPr marL="0" indent="0" algn="ctr">
              <a:buNone/>
              <a:defRPr sz="3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Title of Presentation</a:t>
            </a:r>
          </a:p>
        </p:txBody>
      </p:sp>
      <p:sp>
        <p:nvSpPr>
          <p:cNvPr id="7" name="Text Placeholder 16">
            <a:extLst>
              <a:ext uri="{FF2B5EF4-FFF2-40B4-BE49-F238E27FC236}">
                <a16:creationId xmlns:a16="http://schemas.microsoft.com/office/drawing/2014/main" id="{7B47E2F5-3360-DB44-9B29-DBFDB4970593}"/>
              </a:ext>
            </a:extLst>
          </p:cNvPr>
          <p:cNvSpPr>
            <a:spLocks noGrp="1"/>
          </p:cNvSpPr>
          <p:nvPr>
            <p:ph type="body" sz="quarter" idx="11" hasCustomPrompt="1"/>
          </p:nvPr>
        </p:nvSpPr>
        <p:spPr>
          <a:xfrm>
            <a:off x="419100" y="3536539"/>
            <a:ext cx="8305800" cy="387798"/>
          </a:xfrm>
          <a:prstGeom prst="rect">
            <a:avLst/>
          </a:prstGeom>
        </p:spPr>
        <p:txBody>
          <a:bodyPr/>
          <a:lstStyle>
            <a:lvl1pPr marL="0" indent="0" algn="ctr">
              <a:buNone/>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Date</a:t>
            </a:r>
          </a:p>
        </p:txBody>
      </p:sp>
    </p:spTree>
    <p:extLst>
      <p:ext uri="{BB962C8B-B14F-4D97-AF65-F5344CB8AC3E}">
        <p14:creationId xmlns:p14="http://schemas.microsoft.com/office/powerpoint/2010/main" val="1247762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E">
    <p:bg>
      <p:bgPr>
        <a:solidFill>
          <a:srgbClr val="0A4A8E"/>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CF4D1E3-3DAF-5E40-801D-97C5949E87BF}"/>
              </a:ext>
            </a:extLst>
          </p:cNvPr>
          <p:cNvPicPr>
            <a:picLocks noChangeAspect="1"/>
          </p:cNvPicPr>
          <p:nvPr userDrawn="1"/>
        </p:nvPicPr>
        <p:blipFill>
          <a:blip r:embed="rId2" cstate="screen">
            <a:alphaModFix amt="10000"/>
            <a:extLst>
              <a:ext uri="{28A0092B-C50C-407E-A947-70E740481C1C}">
                <a14:useLocalDpi xmlns:a14="http://schemas.microsoft.com/office/drawing/2010/main"/>
              </a:ext>
            </a:extLst>
          </a:blip>
          <a:stretch>
            <a:fillRect/>
          </a:stretch>
        </p:blipFill>
        <p:spPr>
          <a:xfrm>
            <a:off x="-2" y="1028356"/>
            <a:ext cx="9144000" cy="4820176"/>
          </a:xfrm>
          <a:prstGeom prst="rect">
            <a:avLst/>
          </a:prstGeom>
        </p:spPr>
      </p:pic>
      <p:pic>
        <p:nvPicPr>
          <p:cNvPr id="9" name="Picture 8">
            <a:extLst>
              <a:ext uri="{FF2B5EF4-FFF2-40B4-BE49-F238E27FC236}">
                <a16:creationId xmlns:a16="http://schemas.microsoft.com/office/drawing/2014/main" id="{50852335-FEF1-0D46-B8C3-FF779FEF32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30087" y="6227726"/>
            <a:ext cx="1683826" cy="290392"/>
          </a:xfrm>
          <a:prstGeom prst="rect">
            <a:avLst/>
          </a:prstGeom>
        </p:spPr>
      </p:pic>
      <p:sp>
        <p:nvSpPr>
          <p:cNvPr id="6" name="Text Placeholder 14">
            <a:extLst>
              <a:ext uri="{FF2B5EF4-FFF2-40B4-BE49-F238E27FC236}">
                <a16:creationId xmlns:a16="http://schemas.microsoft.com/office/drawing/2014/main" id="{31E972E3-35BA-FF4F-9180-DEA3FB3B3C4A}"/>
              </a:ext>
            </a:extLst>
          </p:cNvPr>
          <p:cNvSpPr>
            <a:spLocks noGrp="1"/>
          </p:cNvSpPr>
          <p:nvPr>
            <p:ph type="body" sz="quarter" idx="10" hasCustomPrompt="1"/>
          </p:nvPr>
        </p:nvSpPr>
        <p:spPr>
          <a:xfrm>
            <a:off x="419100" y="2303164"/>
            <a:ext cx="8305800" cy="498598"/>
          </a:xfrm>
          <a:prstGeom prst="rect">
            <a:avLst/>
          </a:prstGeom>
        </p:spPr>
        <p:txBody>
          <a:bodyPr/>
          <a:lstStyle>
            <a:lvl1pPr marL="0" indent="0" algn="ctr">
              <a:buNone/>
              <a:defRPr sz="3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Title of Presentation</a:t>
            </a:r>
          </a:p>
        </p:txBody>
      </p:sp>
      <p:sp>
        <p:nvSpPr>
          <p:cNvPr id="7" name="Text Placeholder 16">
            <a:extLst>
              <a:ext uri="{FF2B5EF4-FFF2-40B4-BE49-F238E27FC236}">
                <a16:creationId xmlns:a16="http://schemas.microsoft.com/office/drawing/2014/main" id="{7B47E2F5-3360-DB44-9B29-DBFDB4970593}"/>
              </a:ext>
            </a:extLst>
          </p:cNvPr>
          <p:cNvSpPr>
            <a:spLocks noGrp="1"/>
          </p:cNvSpPr>
          <p:nvPr>
            <p:ph type="body" sz="quarter" idx="11" hasCustomPrompt="1"/>
          </p:nvPr>
        </p:nvSpPr>
        <p:spPr>
          <a:xfrm>
            <a:off x="419100" y="3536539"/>
            <a:ext cx="8305800" cy="387798"/>
          </a:xfrm>
          <a:prstGeom prst="rect">
            <a:avLst/>
          </a:prstGeom>
        </p:spPr>
        <p:txBody>
          <a:bodyPr/>
          <a:lstStyle>
            <a:lvl1pPr marL="0" indent="0" algn="ctr">
              <a:buNone/>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Date</a:t>
            </a:r>
          </a:p>
        </p:txBody>
      </p:sp>
    </p:spTree>
    <p:extLst>
      <p:ext uri="{BB962C8B-B14F-4D97-AF65-F5344CB8AC3E}">
        <p14:creationId xmlns:p14="http://schemas.microsoft.com/office/powerpoint/2010/main" val="9065224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F">
    <p:bg>
      <p:bgPr>
        <a:gradFill>
          <a:gsLst>
            <a:gs pos="0">
              <a:schemeClr val="accent1">
                <a:lumMod val="40000"/>
                <a:lumOff val="60000"/>
              </a:schemeClr>
            </a:gs>
            <a:gs pos="46000">
              <a:srgbClr val="0A4A8E"/>
            </a:gs>
            <a:gs pos="100000">
              <a:srgbClr val="0E294A"/>
            </a:gs>
          </a:gsLst>
          <a:path path="circle">
            <a:fillToRect l="50000" t="130000" r="50000" b="-30000"/>
          </a:path>
        </a:gra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5F04926-0E45-C24E-8794-AB30AA468EC3}"/>
              </a:ext>
            </a:extLst>
          </p:cNvPr>
          <p:cNvPicPr>
            <a:picLocks noChangeAspect="1"/>
          </p:cNvPicPr>
          <p:nvPr userDrawn="1"/>
        </p:nvPicPr>
        <p:blipFill>
          <a:blip r:embed="rId2" cstate="screen">
            <a:alphaModFix amt="10000"/>
            <a:extLst>
              <a:ext uri="{28A0092B-C50C-407E-A947-70E740481C1C}">
                <a14:useLocalDpi xmlns:a14="http://schemas.microsoft.com/office/drawing/2010/main"/>
              </a:ext>
            </a:extLst>
          </a:blip>
          <a:stretch>
            <a:fillRect/>
          </a:stretch>
        </p:blipFill>
        <p:spPr>
          <a:xfrm>
            <a:off x="-2" y="1028356"/>
            <a:ext cx="9144000" cy="4820176"/>
          </a:xfrm>
          <a:prstGeom prst="rect">
            <a:avLst/>
          </a:prstGeom>
        </p:spPr>
      </p:pic>
      <p:pic>
        <p:nvPicPr>
          <p:cNvPr id="9" name="Picture 8">
            <a:extLst>
              <a:ext uri="{FF2B5EF4-FFF2-40B4-BE49-F238E27FC236}">
                <a16:creationId xmlns:a16="http://schemas.microsoft.com/office/drawing/2014/main" id="{50852335-FEF1-0D46-B8C3-FF779FEF32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30087" y="6227726"/>
            <a:ext cx="1683826" cy="290392"/>
          </a:xfrm>
          <a:prstGeom prst="rect">
            <a:avLst/>
          </a:prstGeom>
        </p:spPr>
      </p:pic>
      <p:sp>
        <p:nvSpPr>
          <p:cNvPr id="6" name="Text Placeholder 14">
            <a:extLst>
              <a:ext uri="{FF2B5EF4-FFF2-40B4-BE49-F238E27FC236}">
                <a16:creationId xmlns:a16="http://schemas.microsoft.com/office/drawing/2014/main" id="{31E972E3-35BA-FF4F-9180-DEA3FB3B3C4A}"/>
              </a:ext>
            </a:extLst>
          </p:cNvPr>
          <p:cNvSpPr>
            <a:spLocks noGrp="1"/>
          </p:cNvSpPr>
          <p:nvPr>
            <p:ph type="body" sz="quarter" idx="10" hasCustomPrompt="1"/>
          </p:nvPr>
        </p:nvSpPr>
        <p:spPr>
          <a:xfrm>
            <a:off x="419100" y="2303164"/>
            <a:ext cx="8305800" cy="498598"/>
          </a:xfrm>
          <a:prstGeom prst="rect">
            <a:avLst/>
          </a:prstGeom>
        </p:spPr>
        <p:txBody>
          <a:bodyPr/>
          <a:lstStyle>
            <a:lvl1pPr marL="0" indent="0" algn="ctr">
              <a:buNone/>
              <a:defRPr sz="3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Title of Presentation</a:t>
            </a:r>
          </a:p>
        </p:txBody>
      </p:sp>
      <p:sp>
        <p:nvSpPr>
          <p:cNvPr id="7" name="Text Placeholder 16">
            <a:extLst>
              <a:ext uri="{FF2B5EF4-FFF2-40B4-BE49-F238E27FC236}">
                <a16:creationId xmlns:a16="http://schemas.microsoft.com/office/drawing/2014/main" id="{7B47E2F5-3360-DB44-9B29-DBFDB4970593}"/>
              </a:ext>
            </a:extLst>
          </p:cNvPr>
          <p:cNvSpPr>
            <a:spLocks noGrp="1"/>
          </p:cNvSpPr>
          <p:nvPr>
            <p:ph type="body" sz="quarter" idx="11" hasCustomPrompt="1"/>
          </p:nvPr>
        </p:nvSpPr>
        <p:spPr>
          <a:xfrm>
            <a:off x="419100" y="3536539"/>
            <a:ext cx="8305800" cy="387798"/>
          </a:xfrm>
          <a:prstGeom prst="rect">
            <a:avLst/>
          </a:prstGeom>
        </p:spPr>
        <p:txBody>
          <a:bodyPr/>
          <a:lstStyle>
            <a:lvl1pPr marL="0" indent="0" algn="ctr">
              <a:buNone/>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Date</a:t>
            </a:r>
          </a:p>
        </p:txBody>
      </p:sp>
    </p:spTree>
    <p:extLst>
      <p:ext uri="{BB962C8B-B14F-4D97-AF65-F5344CB8AC3E}">
        <p14:creationId xmlns:p14="http://schemas.microsoft.com/office/powerpoint/2010/main" val="38943169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G">
    <p:bg>
      <p:bgPr>
        <a:solidFill>
          <a:srgbClr val="0A4A8E"/>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0852335-FEF1-0D46-B8C3-FF779FEF328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30087" y="6227726"/>
            <a:ext cx="1683826" cy="290392"/>
          </a:xfrm>
          <a:prstGeom prst="rect">
            <a:avLst/>
          </a:prstGeom>
        </p:spPr>
      </p:pic>
      <p:sp>
        <p:nvSpPr>
          <p:cNvPr id="6" name="Text Placeholder 14">
            <a:extLst>
              <a:ext uri="{FF2B5EF4-FFF2-40B4-BE49-F238E27FC236}">
                <a16:creationId xmlns:a16="http://schemas.microsoft.com/office/drawing/2014/main" id="{31E972E3-35BA-FF4F-9180-DEA3FB3B3C4A}"/>
              </a:ext>
            </a:extLst>
          </p:cNvPr>
          <p:cNvSpPr>
            <a:spLocks noGrp="1"/>
          </p:cNvSpPr>
          <p:nvPr>
            <p:ph type="body" sz="quarter" idx="10" hasCustomPrompt="1"/>
          </p:nvPr>
        </p:nvSpPr>
        <p:spPr>
          <a:xfrm>
            <a:off x="419100" y="2303164"/>
            <a:ext cx="8305800" cy="498598"/>
          </a:xfrm>
          <a:prstGeom prst="rect">
            <a:avLst/>
          </a:prstGeom>
        </p:spPr>
        <p:txBody>
          <a:bodyPr/>
          <a:lstStyle>
            <a:lvl1pPr marL="0" indent="0" algn="ctr">
              <a:buNone/>
              <a:defRPr sz="3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Title of Presentation</a:t>
            </a:r>
          </a:p>
        </p:txBody>
      </p:sp>
      <p:sp>
        <p:nvSpPr>
          <p:cNvPr id="7" name="Text Placeholder 16">
            <a:extLst>
              <a:ext uri="{FF2B5EF4-FFF2-40B4-BE49-F238E27FC236}">
                <a16:creationId xmlns:a16="http://schemas.microsoft.com/office/drawing/2014/main" id="{7B47E2F5-3360-DB44-9B29-DBFDB4970593}"/>
              </a:ext>
            </a:extLst>
          </p:cNvPr>
          <p:cNvSpPr>
            <a:spLocks noGrp="1"/>
          </p:cNvSpPr>
          <p:nvPr>
            <p:ph type="body" sz="quarter" idx="11" hasCustomPrompt="1"/>
          </p:nvPr>
        </p:nvSpPr>
        <p:spPr>
          <a:xfrm>
            <a:off x="419100" y="3536539"/>
            <a:ext cx="8305800" cy="387798"/>
          </a:xfrm>
          <a:prstGeom prst="rect">
            <a:avLst/>
          </a:prstGeom>
        </p:spPr>
        <p:txBody>
          <a:bodyPr/>
          <a:lstStyle>
            <a:lvl1pPr marL="0" indent="0" algn="ctr">
              <a:buNone/>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Date</a:t>
            </a:r>
          </a:p>
        </p:txBody>
      </p:sp>
      <p:cxnSp>
        <p:nvCxnSpPr>
          <p:cNvPr id="5" name="Straight Connector 4">
            <a:extLst>
              <a:ext uri="{FF2B5EF4-FFF2-40B4-BE49-F238E27FC236}">
                <a16:creationId xmlns:a16="http://schemas.microsoft.com/office/drawing/2014/main" id="{61BA1E37-0D24-C24A-9EE6-064985A46A4F}"/>
              </a:ext>
            </a:extLst>
          </p:cNvPr>
          <p:cNvCxnSpPr>
            <a:cxnSpLocks/>
          </p:cNvCxnSpPr>
          <p:nvPr userDrawn="1"/>
        </p:nvCxnSpPr>
        <p:spPr>
          <a:xfrm flipH="1">
            <a:off x="419100" y="3154879"/>
            <a:ext cx="83058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43447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head, Content, Footnotes">
    <p:spTree>
      <p:nvGrpSpPr>
        <p:cNvPr id="1" name=""/>
        <p:cNvGrpSpPr/>
        <p:nvPr/>
      </p:nvGrpSpPr>
      <p:grpSpPr>
        <a:xfrm>
          <a:off x="0" y="0"/>
          <a:ext cx="0" cy="0"/>
          <a:chOff x="0" y="0"/>
          <a:chExt cx="0" cy="0"/>
        </a:xfrm>
      </p:grpSpPr>
      <p:sp>
        <p:nvSpPr>
          <p:cNvPr id="18" name="Footnote Placeholder">
            <a:extLst>
              <a:ext uri="{FF2B5EF4-FFF2-40B4-BE49-F238E27FC236}">
                <a16:creationId xmlns:a16="http://schemas.microsoft.com/office/drawing/2014/main" id="{8DFCE922-FAA8-A044-A65B-BFF68B32EE09}"/>
              </a:ext>
            </a:extLst>
          </p:cNvPr>
          <p:cNvSpPr>
            <a:spLocks noGrp="1"/>
          </p:cNvSpPr>
          <p:nvPr>
            <p:ph type="body" sz="quarter" idx="15" hasCustomPrompt="1"/>
          </p:nvPr>
        </p:nvSpPr>
        <p:spPr>
          <a:xfrm>
            <a:off x="419100" y="6387491"/>
            <a:ext cx="4152901" cy="409343"/>
          </a:xfrm>
          <a:prstGeom prst="rect">
            <a:avLst/>
          </a:prstGeom>
        </p:spPr>
        <p:txBody>
          <a:bodyPr wrap="square" lIns="0" tIns="0" rIns="0" bIns="0" anchor="b" anchorCtr="0">
            <a:spAutoFit/>
          </a:bodyPr>
          <a:lstStyle>
            <a:lvl1pPr marL="114300" indent="-114300">
              <a:spcBef>
                <a:spcPts val="0"/>
              </a:spcBef>
              <a:spcAft>
                <a:spcPts val="300"/>
              </a:spcAft>
              <a:buClr>
                <a:srgbClr val="404040"/>
              </a:buClr>
              <a:buFont typeface="+mj-lt"/>
              <a:buAutoNum type="arabicPeriod"/>
              <a:tabLst/>
              <a:defRPr sz="800">
                <a:solidFill>
                  <a:srgbClr val="404040"/>
                </a:solidFill>
              </a:defRPr>
            </a:lvl1pPr>
          </a:lstStyle>
          <a:p>
            <a:pPr lvl="0"/>
            <a:r>
              <a:rPr lang="en-US"/>
              <a:t>Edit footnote text</a:t>
            </a:r>
          </a:p>
          <a:p>
            <a:pPr lvl="0"/>
            <a:r>
              <a:rPr lang="en-US"/>
              <a:t>Edit footnote text</a:t>
            </a:r>
          </a:p>
          <a:p>
            <a:pPr lvl="0"/>
            <a:r>
              <a:rPr lang="en-US"/>
              <a:t>Edit footnote text</a:t>
            </a:r>
          </a:p>
        </p:txBody>
      </p:sp>
      <p:sp>
        <p:nvSpPr>
          <p:cNvPr id="17" name="Content Placeholder">
            <a:extLst>
              <a:ext uri="{FF2B5EF4-FFF2-40B4-BE49-F238E27FC236}">
                <a16:creationId xmlns:a16="http://schemas.microsoft.com/office/drawing/2014/main" id="{02AA23EF-0245-1A4A-B268-E29F8BC0EBB0}"/>
              </a:ext>
            </a:extLst>
          </p:cNvPr>
          <p:cNvSpPr>
            <a:spLocks noGrp="1"/>
          </p:cNvSpPr>
          <p:nvPr>
            <p:ph type="body" sz="quarter" idx="14"/>
          </p:nvPr>
        </p:nvSpPr>
        <p:spPr>
          <a:xfrm>
            <a:off x="419100" y="1452789"/>
            <a:ext cx="8302752" cy="1785104"/>
          </a:xfrm>
          <a:prstGeom prst="rect">
            <a:avLst/>
          </a:prstGeom>
        </p:spPr>
        <p:txBody>
          <a:bodyPr wrap="square" lIns="0" tIns="0" rIns="0" bIns="0">
            <a:spAutoFit/>
          </a:bodyPr>
          <a:lstStyle>
            <a:lvl1pPr marL="174625" indent="-174625">
              <a:spcBef>
                <a:spcPts val="0"/>
              </a:spcBef>
              <a:spcAft>
                <a:spcPts val="900"/>
              </a:spcAft>
              <a:buClr>
                <a:srgbClr val="404040"/>
              </a:buClr>
              <a:buFont typeface="Arial" panose="020B0604020202020204" pitchFamily="34" charset="0"/>
              <a:buChar char="•"/>
              <a:tabLst/>
              <a:defRPr sz="1800">
                <a:solidFill>
                  <a:srgbClr val="404040"/>
                </a:solidFill>
              </a:defRPr>
            </a:lvl1pPr>
            <a:lvl2pPr marL="400050" indent="-174625">
              <a:spcBef>
                <a:spcPts val="0"/>
              </a:spcBef>
              <a:spcAft>
                <a:spcPts val="1100"/>
              </a:spcAft>
              <a:buClr>
                <a:srgbClr val="404040"/>
              </a:buClr>
              <a:tabLst/>
              <a:defRPr sz="1800">
                <a:solidFill>
                  <a:srgbClr val="404040"/>
                </a:solidFill>
              </a:defRPr>
            </a:lvl2pPr>
            <a:lvl3pPr marL="628650" indent="-174625">
              <a:spcBef>
                <a:spcPts val="0"/>
              </a:spcBef>
              <a:spcAft>
                <a:spcPts val="1100"/>
              </a:spcAft>
              <a:buClr>
                <a:srgbClr val="404040"/>
              </a:buClr>
              <a:tabLst/>
              <a:defRPr sz="1800">
                <a:solidFill>
                  <a:srgbClr val="404040"/>
                </a:solidFill>
              </a:defRPr>
            </a:lvl3pPr>
            <a:lvl4pPr marL="857250" indent="-174625">
              <a:spcBef>
                <a:spcPts val="0"/>
              </a:spcBef>
              <a:spcAft>
                <a:spcPts val="1100"/>
              </a:spcAft>
              <a:buClr>
                <a:srgbClr val="404040"/>
              </a:buClr>
              <a:tabLst/>
              <a:defRPr sz="1800">
                <a:solidFill>
                  <a:srgbClr val="404040"/>
                </a:solidFill>
              </a:defRPr>
            </a:lvl4pPr>
            <a:lvl5pPr marL="1085850" indent="-174625">
              <a:spcBef>
                <a:spcPts val="0"/>
              </a:spcBef>
              <a:spcAft>
                <a:spcPts val="1100"/>
              </a:spcAft>
              <a:buClr>
                <a:srgbClr val="404040"/>
              </a:buClr>
              <a:tabLst/>
              <a:defRPr sz="1800">
                <a:solidFill>
                  <a:srgbClr val="40404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head Placeholder">
            <a:extLst>
              <a:ext uri="{FF2B5EF4-FFF2-40B4-BE49-F238E27FC236}">
                <a16:creationId xmlns:a16="http://schemas.microsoft.com/office/drawing/2014/main" id="{8BAE0C8D-9311-C549-9651-2206D63565E0}"/>
              </a:ext>
            </a:extLst>
          </p:cNvPr>
          <p:cNvSpPr>
            <a:spLocks noGrp="1"/>
          </p:cNvSpPr>
          <p:nvPr>
            <p:ph type="body" sz="quarter" idx="13" hasCustomPrompt="1"/>
          </p:nvPr>
        </p:nvSpPr>
        <p:spPr>
          <a:xfrm>
            <a:off x="419100" y="1047734"/>
            <a:ext cx="8305800" cy="221599"/>
          </a:xfrm>
          <a:prstGeom prst="rect">
            <a:avLst/>
          </a:prstGeom>
        </p:spPr>
        <p:txBody>
          <a:bodyPr lIns="0" tIns="0" rIns="0" bIns="0"/>
          <a:lstStyle>
            <a:lvl1pPr marL="0" indent="0">
              <a:spcBef>
                <a:spcPts val="0"/>
              </a:spcBef>
              <a:spcAft>
                <a:spcPts val="1200"/>
              </a:spcAft>
              <a:buNone/>
              <a:defRPr sz="1600">
                <a:solidFill>
                  <a:srgbClr val="404040"/>
                </a:solidFill>
              </a:defRPr>
            </a:lvl1pPr>
          </a:lstStyle>
          <a:p>
            <a:pPr lvl="0"/>
            <a:r>
              <a:rPr lang="en-US"/>
              <a:t>Click to edit subhead</a:t>
            </a:r>
          </a:p>
        </p:txBody>
      </p:sp>
      <p:sp>
        <p:nvSpPr>
          <p:cNvPr id="7" name="Title Placeholder">
            <a:extLst>
              <a:ext uri="{FF2B5EF4-FFF2-40B4-BE49-F238E27FC236}">
                <a16:creationId xmlns:a16="http://schemas.microsoft.com/office/drawing/2014/main" id="{34394691-FC2F-F349-96EB-F792F3F25D02}"/>
              </a:ext>
            </a:extLst>
          </p:cNvPr>
          <p:cNvSpPr>
            <a:spLocks noGrp="1"/>
          </p:cNvSpPr>
          <p:nvPr>
            <p:ph type="title" hasCustomPrompt="1"/>
          </p:nvPr>
        </p:nvSpPr>
        <p:spPr>
          <a:xfrm>
            <a:off x="419100" y="559579"/>
            <a:ext cx="8302752" cy="304699"/>
          </a:xfrm>
          <a:prstGeom prst="rect">
            <a:avLst/>
          </a:prstGeom>
        </p:spPr>
        <p:txBody>
          <a:bodyPr vert="horz" wrap="square" lIns="0" tIns="0" rIns="0" bIns="0" rtlCol="0" anchor="b" anchorCtr="0">
            <a:spAutoFit/>
          </a:bodyPr>
          <a:lstStyle/>
          <a:p>
            <a:r>
              <a:rPr lang="en-US"/>
              <a:t>Click to edit title of style</a:t>
            </a:r>
            <a:endParaRPr 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orient="horz" pos="424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Content, Footnotes">
    <p:spTree>
      <p:nvGrpSpPr>
        <p:cNvPr id="1" name=""/>
        <p:cNvGrpSpPr/>
        <p:nvPr/>
      </p:nvGrpSpPr>
      <p:grpSpPr>
        <a:xfrm>
          <a:off x="0" y="0"/>
          <a:ext cx="0" cy="0"/>
          <a:chOff x="0" y="0"/>
          <a:chExt cx="0" cy="0"/>
        </a:xfrm>
      </p:grpSpPr>
      <p:sp>
        <p:nvSpPr>
          <p:cNvPr id="18" name="Content Placeholder">
            <a:extLst>
              <a:ext uri="{FF2B5EF4-FFF2-40B4-BE49-F238E27FC236}">
                <a16:creationId xmlns:a16="http://schemas.microsoft.com/office/drawing/2014/main" id="{DFB0965C-5D15-4444-8111-5DD44B2481D4}"/>
              </a:ext>
            </a:extLst>
          </p:cNvPr>
          <p:cNvSpPr>
            <a:spLocks noGrp="1"/>
          </p:cNvSpPr>
          <p:nvPr>
            <p:ph type="body" sz="quarter" idx="14"/>
          </p:nvPr>
        </p:nvSpPr>
        <p:spPr>
          <a:xfrm>
            <a:off x="419100" y="1453896"/>
            <a:ext cx="8305800" cy="1785104"/>
          </a:xfrm>
          <a:prstGeom prst="rect">
            <a:avLst/>
          </a:prstGeom>
        </p:spPr>
        <p:txBody>
          <a:bodyPr wrap="square" lIns="0" tIns="0" rIns="0" bIns="0">
            <a:spAutoFit/>
          </a:bodyPr>
          <a:lstStyle>
            <a:lvl1pPr marL="174625" indent="-174625">
              <a:spcBef>
                <a:spcPts val="0"/>
              </a:spcBef>
              <a:spcAft>
                <a:spcPts val="900"/>
              </a:spcAft>
              <a:buClr>
                <a:srgbClr val="404040"/>
              </a:buClr>
              <a:tabLst/>
              <a:defRPr sz="1800">
                <a:solidFill>
                  <a:srgbClr val="404040"/>
                </a:solidFill>
              </a:defRPr>
            </a:lvl1pPr>
            <a:lvl2pPr marL="400050" indent="-174625">
              <a:spcBef>
                <a:spcPts val="0"/>
              </a:spcBef>
              <a:spcAft>
                <a:spcPts val="1100"/>
              </a:spcAft>
              <a:buClr>
                <a:srgbClr val="404040"/>
              </a:buClr>
              <a:tabLst/>
              <a:defRPr sz="1800">
                <a:solidFill>
                  <a:srgbClr val="404040"/>
                </a:solidFill>
              </a:defRPr>
            </a:lvl2pPr>
            <a:lvl3pPr marL="628650" indent="-174625">
              <a:spcBef>
                <a:spcPts val="0"/>
              </a:spcBef>
              <a:spcAft>
                <a:spcPts val="1100"/>
              </a:spcAft>
              <a:buClr>
                <a:srgbClr val="404040"/>
              </a:buClr>
              <a:tabLst/>
              <a:defRPr sz="1800">
                <a:solidFill>
                  <a:srgbClr val="404040"/>
                </a:solidFill>
              </a:defRPr>
            </a:lvl3pPr>
            <a:lvl4pPr marL="857250" indent="-174625">
              <a:spcBef>
                <a:spcPts val="0"/>
              </a:spcBef>
              <a:spcAft>
                <a:spcPts val="1100"/>
              </a:spcAft>
              <a:buClr>
                <a:srgbClr val="404040"/>
              </a:buClr>
              <a:tabLst/>
              <a:defRPr sz="1800">
                <a:solidFill>
                  <a:srgbClr val="404040"/>
                </a:solidFill>
              </a:defRPr>
            </a:lvl4pPr>
            <a:lvl5pPr marL="1085850" indent="-174625">
              <a:spcBef>
                <a:spcPts val="0"/>
              </a:spcBef>
              <a:spcAft>
                <a:spcPts val="1100"/>
              </a:spcAft>
              <a:buClr>
                <a:srgbClr val="404040"/>
              </a:buClr>
              <a:tabLst/>
              <a:defRPr sz="1800">
                <a:solidFill>
                  <a:srgbClr val="40404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Placeholder">
            <a:extLst>
              <a:ext uri="{FF2B5EF4-FFF2-40B4-BE49-F238E27FC236}">
                <a16:creationId xmlns:a16="http://schemas.microsoft.com/office/drawing/2014/main" id="{DFD63B35-C242-F24A-8A6F-07E1B2EB2C3C}"/>
              </a:ext>
            </a:extLst>
          </p:cNvPr>
          <p:cNvSpPr>
            <a:spLocks noGrp="1"/>
          </p:cNvSpPr>
          <p:nvPr>
            <p:ph type="title" hasCustomPrompt="1"/>
          </p:nvPr>
        </p:nvSpPr>
        <p:spPr>
          <a:xfrm>
            <a:off x="419100" y="559579"/>
            <a:ext cx="8305800" cy="304699"/>
          </a:xfrm>
          <a:prstGeom prst="rect">
            <a:avLst/>
          </a:prstGeom>
        </p:spPr>
        <p:txBody>
          <a:bodyPr vert="horz" wrap="square" lIns="0" tIns="0" rIns="0" bIns="0" rtlCol="0" anchor="b" anchorCtr="0">
            <a:spAutoFit/>
          </a:bodyPr>
          <a:lstStyle/>
          <a:p>
            <a:r>
              <a:rPr lang="en-US"/>
              <a:t>Click to edit title of style</a:t>
            </a:r>
            <a:endParaRPr lang="en-US" dirty="0"/>
          </a:p>
        </p:txBody>
      </p:sp>
      <p:sp>
        <p:nvSpPr>
          <p:cNvPr id="6" name="Footnote Placeholder">
            <a:extLst>
              <a:ext uri="{FF2B5EF4-FFF2-40B4-BE49-F238E27FC236}">
                <a16:creationId xmlns:a16="http://schemas.microsoft.com/office/drawing/2014/main" id="{35E5A8BA-8EB6-2F4E-9C2A-FA2DE3A798C3}"/>
              </a:ext>
            </a:extLst>
          </p:cNvPr>
          <p:cNvSpPr>
            <a:spLocks noGrp="1"/>
          </p:cNvSpPr>
          <p:nvPr>
            <p:ph type="body" sz="quarter" idx="15" hasCustomPrompt="1"/>
          </p:nvPr>
        </p:nvSpPr>
        <p:spPr>
          <a:xfrm>
            <a:off x="419100" y="6387491"/>
            <a:ext cx="4152901" cy="409343"/>
          </a:xfrm>
          <a:prstGeom prst="rect">
            <a:avLst/>
          </a:prstGeom>
        </p:spPr>
        <p:txBody>
          <a:bodyPr wrap="square" lIns="0" tIns="0" rIns="0" bIns="0" anchor="b" anchorCtr="0">
            <a:spAutoFit/>
          </a:bodyPr>
          <a:lstStyle>
            <a:lvl1pPr marL="114300" indent="-114300">
              <a:spcBef>
                <a:spcPts val="0"/>
              </a:spcBef>
              <a:spcAft>
                <a:spcPts val="300"/>
              </a:spcAft>
              <a:buClr>
                <a:srgbClr val="404040"/>
              </a:buClr>
              <a:buFont typeface="+mj-lt"/>
              <a:buAutoNum type="arabicPeriod"/>
              <a:tabLst/>
              <a:defRPr sz="800">
                <a:solidFill>
                  <a:srgbClr val="404040"/>
                </a:solidFill>
              </a:defRPr>
            </a:lvl1pPr>
          </a:lstStyle>
          <a:p>
            <a:pPr lvl="0"/>
            <a:r>
              <a:rPr lang="en-US"/>
              <a:t>Edit footnote text</a:t>
            </a:r>
          </a:p>
          <a:p>
            <a:pPr lvl="0"/>
            <a:r>
              <a:rPr lang="en-US"/>
              <a:t>Edit footnote text</a:t>
            </a:r>
          </a:p>
          <a:p>
            <a:pPr lvl="0"/>
            <a:r>
              <a:rPr lang="en-US"/>
              <a:t>Edit footnote text</a:t>
            </a:r>
          </a:p>
        </p:txBody>
      </p:sp>
    </p:spTree>
    <p:extLst>
      <p:ext uri="{BB962C8B-B14F-4D97-AF65-F5344CB8AC3E}">
        <p14:creationId xmlns:p14="http://schemas.microsoft.com/office/powerpoint/2010/main" val="1638927757"/>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extLst>
              <p:ext uri="{D42A27DB-BD31-4B8C-83A1-F6EECF244321}">
                <p14:modId xmlns:p14="http://schemas.microsoft.com/office/powerpoint/2010/main" val="1614223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255" imgH="257" progId="TCLayout.ActiveDocument.1">
                  <p:embed/>
                </p:oleObj>
              </mc:Choice>
              <mc:Fallback>
                <p:oleObj name="think-cell Slide" r:id="rId26" imgW="255" imgH="257" progId="TCLayout.ActiveDocument.1">
                  <p:embed/>
                  <p:pic>
                    <p:nvPicPr>
                      <p:cNvPr id="4" name="Object 3" hidden="1"/>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19100" y="559579"/>
            <a:ext cx="8305800" cy="304699"/>
          </a:xfrm>
          <a:prstGeom prst="rect">
            <a:avLst/>
          </a:prstGeom>
        </p:spPr>
        <p:txBody>
          <a:bodyPr vert="horz" wrap="square" lIns="0" tIns="0" rIns="0" bIns="0" rtlCol="0" anchor="b" anchorCtr="0">
            <a:spAutoFit/>
          </a:bodyPr>
          <a:lstStyle/>
          <a:p>
            <a:r>
              <a:rPr lang="en-US"/>
              <a:t>Click to edit title of style</a:t>
            </a:r>
            <a:endParaRPr lang="en-US" dirty="0"/>
          </a:p>
        </p:txBody>
      </p:sp>
      <p:cxnSp>
        <p:nvCxnSpPr>
          <p:cNvPr id="8" name="Straight Connector 7">
            <a:extLst>
              <a:ext uri="{FF2B5EF4-FFF2-40B4-BE49-F238E27FC236}">
                <a16:creationId xmlns:a16="http://schemas.microsoft.com/office/drawing/2014/main" id="{543A56A5-A429-2143-A80B-0D4C536EC9B5}"/>
              </a:ext>
            </a:extLst>
          </p:cNvPr>
          <p:cNvCxnSpPr>
            <a:cxnSpLocks/>
          </p:cNvCxnSpPr>
          <p:nvPr userDrawn="1"/>
        </p:nvCxnSpPr>
        <p:spPr>
          <a:xfrm>
            <a:off x="419100" y="961748"/>
            <a:ext cx="8302752" cy="0"/>
          </a:xfrm>
          <a:prstGeom prst="line">
            <a:avLst/>
          </a:prstGeom>
          <a:ln w="3175">
            <a:solidFill>
              <a:srgbClr val="0A4A8E"/>
            </a:solidFill>
          </a:ln>
        </p:spPr>
        <p:style>
          <a:lnRef idx="1">
            <a:schemeClr val="accent1"/>
          </a:lnRef>
          <a:fillRef idx="0">
            <a:schemeClr val="accent1"/>
          </a:fillRef>
          <a:effectRef idx="0">
            <a:schemeClr val="accent1"/>
          </a:effectRef>
          <a:fontRef idx="minor">
            <a:schemeClr val="tx1"/>
          </a:fontRef>
        </p:style>
      </p:cxnSp>
      <p:sp>
        <p:nvSpPr>
          <p:cNvPr id="5" name="Slide Number Placeholder 5">
            <a:extLst>
              <a:ext uri="{FF2B5EF4-FFF2-40B4-BE49-F238E27FC236}">
                <a16:creationId xmlns:a16="http://schemas.microsoft.com/office/drawing/2014/main" id="{2970EC71-22AD-794B-8AF9-594F1B25587C}"/>
              </a:ext>
            </a:extLst>
          </p:cNvPr>
          <p:cNvSpPr txBox="1">
            <a:spLocks/>
          </p:cNvSpPr>
          <p:nvPr userDrawn="1"/>
        </p:nvSpPr>
        <p:spPr>
          <a:xfrm>
            <a:off x="8220075" y="6623491"/>
            <a:ext cx="501777" cy="153888"/>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rgbClr val="40404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382EA2F-0139-5545-B2F7-0771B570C23C}" type="slidenum">
              <a:rPr lang="en-US" smtClean="0"/>
              <a:pPr/>
              <a:t>‹#›</a:t>
            </a:fld>
            <a:endParaRPr lang="en-US" dirty="0"/>
          </a:p>
        </p:txBody>
      </p:sp>
    </p:spTree>
    <p:extLst>
      <p:ext uri="{BB962C8B-B14F-4D97-AF65-F5344CB8AC3E}">
        <p14:creationId xmlns:p14="http://schemas.microsoft.com/office/powerpoint/2010/main" val="946940443"/>
      </p:ext>
    </p:extLst>
  </p:cSld>
  <p:clrMap bg1="lt1" tx1="dk1" bg2="lt2" tx2="dk2" accent1="accent1" accent2="accent2" accent3="accent3" accent4="accent4" accent5="accent5" accent6="accent6" hlink="hlink" folHlink="folHlink"/>
  <p:sldLayoutIdLst>
    <p:sldLayoutId id="2147483661" r:id="rId1"/>
    <p:sldLayoutId id="2147483689" r:id="rId2"/>
    <p:sldLayoutId id="2147483687" r:id="rId3"/>
    <p:sldLayoutId id="2147483685" r:id="rId4"/>
    <p:sldLayoutId id="2147483688" r:id="rId5"/>
    <p:sldLayoutId id="2147483690" r:id="rId6"/>
    <p:sldLayoutId id="2147483686" r:id="rId7"/>
    <p:sldLayoutId id="2147483662" r:id="rId8"/>
    <p:sldLayoutId id="2147483668" r:id="rId9"/>
    <p:sldLayoutId id="2147483679" r:id="rId10"/>
    <p:sldLayoutId id="2147483666" r:id="rId11"/>
    <p:sldLayoutId id="2147483670" r:id="rId12"/>
    <p:sldLayoutId id="2147483669" r:id="rId13"/>
    <p:sldLayoutId id="2147483677" r:id="rId14"/>
    <p:sldLayoutId id="2147483684" r:id="rId15"/>
    <p:sldLayoutId id="2147483667" r:id="rId16"/>
    <p:sldLayoutId id="2147483678" r:id="rId17"/>
    <p:sldLayoutId id="2147483672" r:id="rId18"/>
    <p:sldLayoutId id="2147483673" r:id="rId19"/>
    <p:sldLayoutId id="2147483675" r:id="rId20"/>
    <p:sldLayoutId id="2147483671" r:id="rId21"/>
    <p:sldLayoutId id="2147483676" r:id="rId22"/>
    <p:sldLayoutId id="2147483838" r:id="rId23"/>
  </p:sldLayoutIdLst>
  <p:hf sldNum="0" hdr="0" ftr="0" dt="0"/>
  <p:txStyles>
    <p:titleStyle>
      <a:lvl1pPr algn="l" defTabSz="914400" rtl="0" eaLnBrk="1" latinLnBrk="0" hangingPunct="1">
        <a:lnSpc>
          <a:spcPct val="90000"/>
        </a:lnSpc>
        <a:spcBef>
          <a:spcPct val="0"/>
        </a:spcBef>
        <a:buNone/>
        <a:defRPr sz="2200" b="1" kern="1200">
          <a:solidFill>
            <a:srgbClr val="0A4A8E"/>
          </a:solidFill>
          <a:latin typeface="+mj-lt"/>
          <a:ea typeface="+mj-ea"/>
          <a:cs typeface="+mj-cs"/>
        </a:defRPr>
      </a:lvl1pPr>
    </p:titleStyle>
    <p:bodyStyle>
      <a:lvl1pPr marL="228600" indent="-228600" algn="l" defTabSz="914400" rtl="0" eaLnBrk="1" latinLnBrk="0" hangingPunct="1">
        <a:lnSpc>
          <a:spcPct val="90000"/>
        </a:lnSpc>
        <a:spcBef>
          <a:spcPts val="1000"/>
        </a:spcBef>
        <a:spcAft>
          <a:spcPts val="600"/>
        </a:spcAft>
        <a:buFont typeface="Arial" panose="020B0604020202020204" pitchFamily="34" charset="0"/>
        <a:buChar char="•"/>
        <a:defRPr sz="1800" kern="1200">
          <a:solidFill>
            <a:srgbClr val="191919"/>
          </a:solidFill>
          <a:latin typeface="+mn-lt"/>
          <a:ea typeface="+mn-ea"/>
          <a:cs typeface="+mn-cs"/>
        </a:defRPr>
      </a:lvl1pPr>
      <a:lvl2pPr marL="6858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2pPr>
      <a:lvl3pPr marL="11430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3pPr>
      <a:lvl4pPr marL="16002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4pPr>
      <a:lvl5pPr marL="20574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7.xml"/><Relationship Id="rId1" Type="http://schemas.openxmlformats.org/officeDocument/2006/relationships/tags" Target="../tags/tag3.xml"/><Relationship Id="rId5" Type="http://schemas.openxmlformats.org/officeDocument/2006/relationships/image" Target="../media/image8.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11.bin"/><Relationship Id="rId7" Type="http://schemas.openxmlformats.org/officeDocument/2006/relationships/hyperlink" Target="https://www.youtube.com/watch?v=YJm306Pekg4" TargetMode="External"/><Relationship Id="rId2" Type="http://schemas.openxmlformats.org/officeDocument/2006/relationships/slideLayout" Target="../slideLayouts/slideLayout15.xml"/><Relationship Id="rId1" Type="http://schemas.openxmlformats.org/officeDocument/2006/relationships/tags" Target="../tags/tag1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7.xml"/><Relationship Id="rId1" Type="http://schemas.openxmlformats.org/officeDocument/2006/relationships/tags" Target="../tags/tag13.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9.png"/><Relationship Id="rId2" Type="http://schemas.openxmlformats.org/officeDocument/2006/relationships/slideLayout" Target="../slideLayouts/slideLayout10.xml"/><Relationship Id="rId1" Type="http://schemas.openxmlformats.org/officeDocument/2006/relationships/tags" Target="../tags/tag14.xml"/><Relationship Id="rId6" Type="http://schemas.openxmlformats.org/officeDocument/2006/relationships/hyperlink" Target="https://sites.google.com/cash-solutions.org/home/legal/enterprise-risk-management" TargetMode="External"/><Relationship Id="rId5" Type="http://schemas.openxmlformats.org/officeDocument/2006/relationships/hyperlink" Target="https://customerportal.brinksinc.com/en/web/brinks-resource-library/enterprise-risk-management?__woopraid=pJ7lWLfwMLbS" TargetMode="Externa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0.xml"/><Relationship Id="rId1" Type="http://schemas.openxmlformats.org/officeDocument/2006/relationships/tags" Target="../tags/tag15.xml"/><Relationship Id="rId5" Type="http://schemas.openxmlformats.org/officeDocument/2006/relationships/image" Target="../media/image9.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7.xml"/><Relationship Id="rId1" Type="http://schemas.openxmlformats.org/officeDocument/2006/relationships/tags" Target="../tags/tag16.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8" Type="http://schemas.openxmlformats.org/officeDocument/2006/relationships/hyperlink" Target="https://sites.google.com/cash-solutions.org/home/legal/enterprise-risk-management" TargetMode="External"/><Relationship Id="rId3" Type="http://schemas.openxmlformats.org/officeDocument/2006/relationships/oleObject" Target="../embeddings/oleObject16.bin"/><Relationship Id="rId7" Type="http://schemas.openxmlformats.org/officeDocument/2006/relationships/hyperlink" Target="https://customerportal.brinksinc.com/en/web/brinks-resource-library/enterprise-risk-management?__woopraid=pJ7lWLfwMLbS" TargetMode="External"/><Relationship Id="rId2" Type="http://schemas.openxmlformats.org/officeDocument/2006/relationships/slideLayout" Target="../slideLayouts/slideLayout10.xml"/><Relationship Id="rId1" Type="http://schemas.openxmlformats.org/officeDocument/2006/relationships/tags" Target="../tags/tag17.xml"/><Relationship Id="rId6" Type="http://schemas.openxmlformats.org/officeDocument/2006/relationships/image" Target="../media/image9.png"/><Relationship Id="rId5" Type="http://schemas.openxmlformats.org/officeDocument/2006/relationships/image" Target="../media/image24.emf"/><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7.xml"/><Relationship Id="rId1" Type="http://schemas.openxmlformats.org/officeDocument/2006/relationships/tags" Target="../tags/tag18.xml"/><Relationship Id="rId5" Type="http://schemas.openxmlformats.org/officeDocument/2006/relationships/hyperlink" Target="mailto:kristina.keller@brinks.com" TargetMode="Externa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0.xml"/><Relationship Id="rId1" Type="http://schemas.openxmlformats.org/officeDocument/2006/relationships/tags" Target="../tags/tag4.xml"/><Relationship Id="rId5" Type="http://schemas.openxmlformats.org/officeDocument/2006/relationships/image" Target="../media/image9.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tags" Target="../tags/tag5.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9.png"/><Relationship Id="rId2" Type="http://schemas.openxmlformats.org/officeDocument/2006/relationships/slideLayout" Target="../slideLayouts/slideLayout10.xml"/><Relationship Id="rId1" Type="http://schemas.openxmlformats.org/officeDocument/2006/relationships/tags" Target="../tags/tag6.xml"/><Relationship Id="rId6" Type="http://schemas.openxmlformats.org/officeDocument/2006/relationships/image" Target="../media/image10.png"/><Relationship Id="rId5" Type="http://schemas.openxmlformats.org/officeDocument/2006/relationships/hyperlink" Target="https://www.youtube.com/watch?v=tV9jtS1eJT0" TargetMode="Externa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oleObject" Target="../embeddings/oleObject6.bin"/><Relationship Id="rId7" Type="http://schemas.openxmlformats.org/officeDocument/2006/relationships/image" Target="../media/image12.png"/><Relationship Id="rId12" Type="http://schemas.openxmlformats.org/officeDocument/2006/relationships/image" Target="../media/image9.png"/><Relationship Id="rId2" Type="http://schemas.openxmlformats.org/officeDocument/2006/relationships/slideLayout" Target="../slideLayouts/slideLayout10.xml"/><Relationship Id="rId1" Type="http://schemas.openxmlformats.org/officeDocument/2006/relationships/tags" Target="../tags/tag7.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hyperlink" Target="https://www.youtube.com/watch?v=mjWw4fqGXsc" TargetMode="External"/><Relationship Id="rId10" Type="http://schemas.openxmlformats.org/officeDocument/2006/relationships/image" Target="../media/image15.png"/><Relationship Id="rId4" Type="http://schemas.openxmlformats.org/officeDocument/2006/relationships/image" Target="../media/image1.emf"/><Relationship Id="rId9" Type="http://schemas.openxmlformats.org/officeDocument/2006/relationships/image" Target="../media/image14.png"/></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oleObject" Target="../embeddings/oleObject7.bin"/><Relationship Id="rId7" Type="http://schemas.openxmlformats.org/officeDocument/2006/relationships/image" Target="../media/image18.png"/><Relationship Id="rId2" Type="http://schemas.openxmlformats.org/officeDocument/2006/relationships/slideLayout" Target="../slideLayouts/slideLayout10.xml"/><Relationship Id="rId1" Type="http://schemas.openxmlformats.org/officeDocument/2006/relationships/tags" Target="../tags/tag8.xml"/><Relationship Id="rId6" Type="http://schemas.openxmlformats.org/officeDocument/2006/relationships/image" Target="../media/image17.png"/><Relationship Id="rId5" Type="http://schemas.openxmlformats.org/officeDocument/2006/relationships/hyperlink" Target="https://www.youtube.com/watch?v=_NKcH1XuDy4" TargetMode="External"/><Relationship Id="rId4" Type="http://schemas.openxmlformats.org/officeDocument/2006/relationships/image" Target="../media/image1.emf"/><Relationship Id="rId9" Type="http://schemas.openxmlformats.org/officeDocument/2006/relationships/image" Target="../media/image9.png"/></Relationships>
</file>

<file path=ppt/slides/_rels/slide7.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8.bin"/><Relationship Id="rId7" Type="http://schemas.openxmlformats.org/officeDocument/2006/relationships/diagramQuickStyle" Target="../diagrams/quickStyle1.xml"/><Relationship Id="rId2" Type="http://schemas.openxmlformats.org/officeDocument/2006/relationships/slideLayout" Target="../slideLayouts/slideLayout10.xml"/><Relationship Id="rId1" Type="http://schemas.openxmlformats.org/officeDocument/2006/relationships/tags" Target="../tags/tag9.xml"/><Relationship Id="rId6" Type="http://schemas.openxmlformats.org/officeDocument/2006/relationships/diagramLayout" Target="../diagrams/layout1.xml"/><Relationship Id="rId5" Type="http://schemas.openxmlformats.org/officeDocument/2006/relationships/diagramData" Target="../diagrams/data1.xml"/><Relationship Id="rId10" Type="http://schemas.openxmlformats.org/officeDocument/2006/relationships/image" Target="../media/image9.png"/><Relationship Id="rId4" Type="http://schemas.openxmlformats.org/officeDocument/2006/relationships/image" Target="../media/image1.emf"/><Relationship Id="rId9" Type="http://schemas.microsoft.com/office/2007/relationships/diagramDrawing" Target="../diagrams/drawing1.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5.xml"/><Relationship Id="rId1" Type="http://schemas.openxmlformats.org/officeDocument/2006/relationships/tags" Target="../tags/tag10.xml"/><Relationship Id="rId6" Type="http://schemas.openxmlformats.org/officeDocument/2006/relationships/image" Target="../media/image9.png"/><Relationship Id="rId5" Type="http://schemas.openxmlformats.org/officeDocument/2006/relationships/image" Target="../media/image20.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5.xml"/><Relationship Id="rId1" Type="http://schemas.openxmlformats.org/officeDocument/2006/relationships/tags" Target="../tags/tag11.xml"/><Relationship Id="rId6" Type="http://schemas.openxmlformats.org/officeDocument/2006/relationships/image" Target="../media/image9.png"/><Relationship Id="rId5" Type="http://schemas.openxmlformats.org/officeDocument/2006/relationships/image" Target="../media/image21.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FC10969-A106-A902-BB6E-D3FD6B6A9E90}"/>
              </a:ext>
            </a:extLst>
          </p:cNvPr>
          <p:cNvGraphicFramePr>
            <a:graphicFrameLocks noChangeAspect="1"/>
          </p:cNvGraphicFramePr>
          <p:nvPr>
            <p:custDataLst>
              <p:tags r:id="rId1"/>
            </p:custDataLst>
            <p:extLst>
              <p:ext uri="{D42A27DB-BD31-4B8C-83A1-F6EECF244321}">
                <p14:modId xmlns:p14="http://schemas.microsoft.com/office/powerpoint/2010/main" val="1308166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5" imgH="257" progId="TCLayout.ActiveDocument.1">
                  <p:embed/>
                </p:oleObj>
              </mc:Choice>
              <mc:Fallback>
                <p:oleObj name="think-cell Slide" r:id="rId3" imgW="255" imgH="257" progId="TCLayout.ActiveDocument.1">
                  <p:embed/>
                  <p:pic>
                    <p:nvPicPr>
                      <p:cNvPr id="6" name="Object 5" hidden="1">
                        <a:extLst>
                          <a:ext uri="{FF2B5EF4-FFF2-40B4-BE49-F238E27FC236}">
                            <a16:creationId xmlns:a16="http://schemas.microsoft.com/office/drawing/2014/main" id="{BFC10969-A106-A902-BB6E-D3FD6B6A9E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5A923C-9E98-8EAC-4478-391E7DDCDEDE}"/>
              </a:ext>
            </a:extLst>
          </p:cNvPr>
          <p:cNvSpPr>
            <a:spLocks noGrp="1"/>
          </p:cNvSpPr>
          <p:nvPr>
            <p:ph type="body" sz="quarter" idx="10"/>
          </p:nvPr>
        </p:nvSpPr>
        <p:spPr>
          <a:xfrm>
            <a:off x="419100" y="1887362"/>
            <a:ext cx="8305800" cy="498598"/>
          </a:xfrm>
        </p:spPr>
        <p:txBody>
          <a:bodyPr/>
          <a:lstStyle/>
          <a:p>
            <a:r>
              <a:rPr lang="en-US" dirty="0"/>
              <a:t>Enterprise Risk Management (ERM) Starter Kit</a:t>
            </a:r>
          </a:p>
        </p:txBody>
      </p:sp>
      <p:pic>
        <p:nvPicPr>
          <p:cNvPr id="8" name="Picture 7" descr="Icon&#10;&#10;Description automatically generated">
            <a:extLst>
              <a:ext uri="{FF2B5EF4-FFF2-40B4-BE49-F238E27FC236}">
                <a16:creationId xmlns:a16="http://schemas.microsoft.com/office/drawing/2014/main" id="{60CADAA5-7818-9171-3B1C-7AD2D85CDB6C}"/>
              </a:ext>
            </a:extLst>
          </p:cNvPr>
          <p:cNvPicPr>
            <a:picLocks noChangeAspect="1"/>
          </p:cNvPicPr>
          <p:nvPr/>
        </p:nvPicPr>
        <p:blipFill>
          <a:blip r:embed="rId5"/>
          <a:stretch>
            <a:fillRect/>
          </a:stretch>
        </p:blipFill>
        <p:spPr>
          <a:xfrm>
            <a:off x="2742746" y="3187190"/>
            <a:ext cx="3294639" cy="2792674"/>
          </a:xfrm>
          <a:prstGeom prst="rect">
            <a:avLst/>
          </a:prstGeom>
        </p:spPr>
      </p:pic>
      <p:sp>
        <p:nvSpPr>
          <p:cNvPr id="9" name="TextBox 8">
            <a:extLst>
              <a:ext uri="{FF2B5EF4-FFF2-40B4-BE49-F238E27FC236}">
                <a16:creationId xmlns:a16="http://schemas.microsoft.com/office/drawing/2014/main" id="{859BA679-6FF5-A79E-645E-4AFB9D265C08}"/>
              </a:ext>
            </a:extLst>
          </p:cNvPr>
          <p:cNvSpPr txBox="1"/>
          <p:nvPr/>
        </p:nvSpPr>
        <p:spPr>
          <a:xfrm>
            <a:off x="214679" y="6573706"/>
            <a:ext cx="1144544" cy="153888"/>
          </a:xfrm>
          <a:prstGeom prst="rect">
            <a:avLst/>
          </a:prstGeom>
        </p:spPr>
        <p:txBody>
          <a:bodyPr wrap="none" lIns="0" tIns="0" rIns="0" bIns="0" rtlCol="0">
            <a:spAutoFit/>
          </a:bodyPr>
          <a:lstStyle/>
          <a:p>
            <a:pPr algn="l">
              <a:spcBef>
                <a:spcPts val="0"/>
              </a:spcBef>
              <a:spcAft>
                <a:spcPts val="1200"/>
              </a:spcAft>
            </a:pPr>
            <a:r>
              <a:rPr lang="en-US" sz="1000" dirty="0">
                <a:solidFill>
                  <a:schemeClr val="bg1"/>
                </a:solidFill>
              </a:rPr>
              <a:t>Updated: June 2022</a:t>
            </a:r>
          </a:p>
        </p:txBody>
      </p:sp>
    </p:spTree>
    <p:extLst>
      <p:ext uri="{BB962C8B-B14F-4D97-AF65-F5344CB8AC3E}">
        <p14:creationId xmlns:p14="http://schemas.microsoft.com/office/powerpoint/2010/main" val="32489392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4A2D4EC-2512-1E79-15BB-BE5DB925C854}"/>
              </a:ext>
            </a:extLst>
          </p:cNvPr>
          <p:cNvGraphicFramePr>
            <a:graphicFrameLocks noChangeAspect="1"/>
          </p:cNvGraphicFramePr>
          <p:nvPr>
            <p:custDataLst>
              <p:tags r:id="rId1"/>
            </p:custDataLst>
            <p:extLst>
              <p:ext uri="{D42A27DB-BD31-4B8C-83A1-F6EECF244321}">
                <p14:modId xmlns:p14="http://schemas.microsoft.com/office/powerpoint/2010/main" val="2368332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5" imgH="257" progId="TCLayout.ActiveDocument.1">
                  <p:embed/>
                </p:oleObj>
              </mc:Choice>
              <mc:Fallback>
                <p:oleObj name="think-cell Slide" r:id="rId3" imgW="255" imgH="257" progId="TCLayout.ActiveDocument.1">
                  <p:embed/>
                  <p:pic>
                    <p:nvPicPr>
                      <p:cNvPr id="5" name="Object 4" hidden="1">
                        <a:extLst>
                          <a:ext uri="{FF2B5EF4-FFF2-40B4-BE49-F238E27FC236}">
                            <a16:creationId xmlns:a16="http://schemas.microsoft.com/office/drawing/2014/main" id="{64A2D4EC-2512-1E79-15BB-BE5DB925C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4262B20-D9BC-3E86-935F-7830BDBF3B0E}"/>
              </a:ext>
            </a:extLst>
          </p:cNvPr>
          <p:cNvSpPr>
            <a:spLocks noGrp="1"/>
          </p:cNvSpPr>
          <p:nvPr>
            <p:ph type="body" sz="quarter" idx="14"/>
          </p:nvPr>
        </p:nvSpPr>
        <p:spPr>
          <a:xfrm>
            <a:off x="419100" y="1453896"/>
            <a:ext cx="8305800" cy="498598"/>
          </a:xfrm>
        </p:spPr>
        <p:txBody>
          <a:bodyPr/>
          <a:lstStyle/>
          <a:p>
            <a:r>
              <a:rPr lang="en-US" dirty="0"/>
              <a:t>Understanding the risks and tolerance helps to make better decisions by exploring both the knowns and unknowns.</a:t>
            </a:r>
          </a:p>
        </p:txBody>
      </p:sp>
      <p:sp>
        <p:nvSpPr>
          <p:cNvPr id="4" name="Title 3">
            <a:extLst>
              <a:ext uri="{FF2B5EF4-FFF2-40B4-BE49-F238E27FC236}">
                <a16:creationId xmlns:a16="http://schemas.microsoft.com/office/drawing/2014/main" id="{5386D549-22D7-DFCB-863E-E7EB747E3C53}"/>
              </a:ext>
            </a:extLst>
          </p:cNvPr>
          <p:cNvSpPr>
            <a:spLocks noGrp="1"/>
          </p:cNvSpPr>
          <p:nvPr>
            <p:ph type="title"/>
          </p:nvPr>
        </p:nvSpPr>
        <p:spPr/>
        <p:txBody>
          <a:bodyPr vert="horz"/>
          <a:lstStyle/>
          <a:p>
            <a:r>
              <a:rPr lang="en-US" dirty="0"/>
              <a:t>Risk Informed Decision Making</a:t>
            </a:r>
          </a:p>
        </p:txBody>
      </p:sp>
      <p:grpSp>
        <p:nvGrpSpPr>
          <p:cNvPr id="9" name="Group 8">
            <a:extLst>
              <a:ext uri="{FF2B5EF4-FFF2-40B4-BE49-F238E27FC236}">
                <a16:creationId xmlns:a16="http://schemas.microsoft.com/office/drawing/2014/main" id="{316A16F2-ED3A-1E60-F2C0-7EF994FE0094}"/>
              </a:ext>
            </a:extLst>
          </p:cNvPr>
          <p:cNvGrpSpPr/>
          <p:nvPr/>
        </p:nvGrpSpPr>
        <p:grpSpPr>
          <a:xfrm>
            <a:off x="2015852" y="1952494"/>
            <a:ext cx="5262563" cy="3700462"/>
            <a:chOff x="1452562" y="1886363"/>
            <a:chExt cx="5793249" cy="4176299"/>
          </a:xfrm>
        </p:grpSpPr>
        <p:pic>
          <p:nvPicPr>
            <p:cNvPr id="13" name="Picture 12">
              <a:extLst>
                <a:ext uri="{FF2B5EF4-FFF2-40B4-BE49-F238E27FC236}">
                  <a16:creationId xmlns:a16="http://schemas.microsoft.com/office/drawing/2014/main" id="{F0387913-F297-53A1-12B6-60BD4B021720}"/>
                </a:ext>
              </a:extLst>
            </p:cNvPr>
            <p:cNvPicPr>
              <a:picLocks noChangeAspect="1"/>
            </p:cNvPicPr>
            <p:nvPr/>
          </p:nvPicPr>
          <p:blipFill>
            <a:blip r:embed="rId5"/>
            <a:stretch>
              <a:fillRect/>
            </a:stretch>
          </p:blipFill>
          <p:spPr>
            <a:xfrm>
              <a:off x="3752850" y="1886363"/>
              <a:ext cx="3492961" cy="2727046"/>
            </a:xfrm>
            <a:prstGeom prst="rect">
              <a:avLst/>
            </a:prstGeom>
          </p:spPr>
        </p:pic>
        <p:pic>
          <p:nvPicPr>
            <p:cNvPr id="19" name="Picture 18">
              <a:extLst>
                <a:ext uri="{FF2B5EF4-FFF2-40B4-BE49-F238E27FC236}">
                  <a16:creationId xmlns:a16="http://schemas.microsoft.com/office/drawing/2014/main" id="{0BFA5B00-3FC3-B3E4-807B-A5D08AE7246A}"/>
                </a:ext>
              </a:extLst>
            </p:cNvPr>
            <p:cNvPicPr>
              <a:picLocks noChangeAspect="1"/>
            </p:cNvPicPr>
            <p:nvPr/>
          </p:nvPicPr>
          <p:blipFill>
            <a:blip r:embed="rId6"/>
            <a:stretch>
              <a:fillRect/>
            </a:stretch>
          </p:blipFill>
          <p:spPr>
            <a:xfrm>
              <a:off x="1452562" y="3164157"/>
              <a:ext cx="2300288" cy="2898505"/>
            </a:xfrm>
            <a:prstGeom prst="rect">
              <a:avLst/>
            </a:prstGeom>
          </p:spPr>
        </p:pic>
      </p:grpSp>
      <p:sp>
        <p:nvSpPr>
          <p:cNvPr id="14" name="TextBox 13">
            <a:extLst>
              <a:ext uri="{FF2B5EF4-FFF2-40B4-BE49-F238E27FC236}">
                <a16:creationId xmlns:a16="http://schemas.microsoft.com/office/drawing/2014/main" id="{B47248FC-B885-1956-C0B5-8DABC9AD0D53}"/>
              </a:ext>
            </a:extLst>
          </p:cNvPr>
          <p:cNvSpPr txBox="1"/>
          <p:nvPr/>
        </p:nvSpPr>
        <p:spPr>
          <a:xfrm>
            <a:off x="1481137" y="5765897"/>
            <a:ext cx="6181725" cy="671915"/>
          </a:xfrm>
          <a:prstGeom prst="rect">
            <a:avLst/>
          </a:prstGeom>
          <a:solidFill>
            <a:srgbClr val="0A498E"/>
          </a:solidFill>
        </p:spPr>
        <p:txBody>
          <a:bodyPr wrap="square">
            <a:spAutoFit/>
          </a:bodyPr>
          <a:lstStyle/>
          <a:p>
            <a:pPr marL="0" marR="0" indent="0" algn="ctr">
              <a:lnSpc>
                <a:spcPct val="107000"/>
              </a:lnSpc>
              <a:spcBef>
                <a:spcPts val="0"/>
              </a:spcBef>
              <a:spcAft>
                <a:spcPts val="800"/>
              </a:spcAft>
              <a:buNone/>
            </a:pPr>
            <a:r>
              <a:rPr lang="en-US" sz="18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WATCH THIS 1:59 CLIP ON RISK INFORMS DECISION MAKING </a:t>
            </a:r>
            <a:r>
              <a:rPr lang="en-US" sz="1800" u="sng"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hlinkClick r:id="rId7">
                  <a:extLst>
                    <a:ext uri="{A12FA001-AC4F-418D-AE19-62706E023703}">
                      <ahyp:hlinkClr xmlns:ahyp="http://schemas.microsoft.com/office/drawing/2018/hyperlinkcolor" val="tx"/>
                    </a:ext>
                  </a:extLst>
                </a:hlinkClick>
              </a:rPr>
              <a:t>https://www.youtube.com/watch?v=YJm306Pekg4</a:t>
            </a:r>
            <a:endParaRPr lang="en-US" sz="1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5" name="Picture 14" descr="A black and white logo&#10;&#10;Description automatically generated with medium confidence">
            <a:extLst>
              <a:ext uri="{FF2B5EF4-FFF2-40B4-BE49-F238E27FC236}">
                <a16:creationId xmlns:a16="http://schemas.microsoft.com/office/drawing/2014/main" id="{E85AC8C2-B1BA-8578-035C-A695A15B56E1}"/>
              </a:ext>
            </a:extLst>
          </p:cNvPr>
          <p:cNvPicPr>
            <a:picLocks noChangeAspect="1"/>
          </p:cNvPicPr>
          <p:nvPr/>
        </p:nvPicPr>
        <p:blipFill>
          <a:blip r:embed="rId8"/>
          <a:stretch>
            <a:fillRect/>
          </a:stretch>
        </p:blipFill>
        <p:spPr>
          <a:xfrm>
            <a:off x="7858310" y="223249"/>
            <a:ext cx="793565" cy="672659"/>
          </a:xfrm>
          <a:prstGeom prst="rect">
            <a:avLst/>
          </a:prstGeom>
        </p:spPr>
      </p:pic>
    </p:spTree>
    <p:extLst>
      <p:ext uri="{BB962C8B-B14F-4D97-AF65-F5344CB8AC3E}">
        <p14:creationId xmlns:p14="http://schemas.microsoft.com/office/powerpoint/2010/main" val="34526307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5" imgH="257" progId="TCLayout.ActiveDocument.1">
                  <p:embed/>
                </p:oleObj>
              </mc:Choice>
              <mc:Fallback>
                <p:oleObj name="think-cell Slide" r:id="rId3" imgW="255" imgH="257" progId="TCLayout.ActiveDocument.1">
                  <p:embed/>
                  <p:pic>
                    <p:nvPicPr>
                      <p:cNvPr id="7"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p:cNvSpPr>
            <a:spLocks noGrp="1"/>
          </p:cNvSpPr>
          <p:nvPr>
            <p:ph type="body" sz="quarter" idx="10"/>
          </p:nvPr>
        </p:nvSpPr>
        <p:spPr/>
        <p:txBody>
          <a:bodyPr/>
          <a:lstStyle/>
          <a:p>
            <a:r>
              <a:rPr lang="en-US" dirty="0"/>
              <a:t>APPLICATION</a:t>
            </a:r>
          </a:p>
        </p:txBody>
      </p:sp>
    </p:spTree>
    <p:extLst>
      <p:ext uri="{BB962C8B-B14F-4D97-AF65-F5344CB8AC3E}">
        <p14:creationId xmlns:p14="http://schemas.microsoft.com/office/powerpoint/2010/main" val="26492562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7193355-44EC-1560-E470-89331215B82C}"/>
              </a:ext>
            </a:extLst>
          </p:cNvPr>
          <p:cNvGraphicFramePr>
            <a:graphicFrameLocks noChangeAspect="1"/>
          </p:cNvGraphicFramePr>
          <p:nvPr>
            <p:custDataLst>
              <p:tags r:id="rId1"/>
            </p:custDataLst>
            <p:extLst>
              <p:ext uri="{D42A27DB-BD31-4B8C-83A1-F6EECF244321}">
                <p14:modId xmlns:p14="http://schemas.microsoft.com/office/powerpoint/2010/main" val="1076749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5" imgH="257" progId="TCLayout.ActiveDocument.1">
                  <p:embed/>
                </p:oleObj>
              </mc:Choice>
              <mc:Fallback>
                <p:oleObj name="think-cell Slide" r:id="rId3" imgW="255" imgH="257" progId="TCLayout.ActiveDocument.1">
                  <p:embed/>
                  <p:pic>
                    <p:nvPicPr>
                      <p:cNvPr id="6" name="Object 5" hidden="1">
                        <a:extLst>
                          <a:ext uri="{FF2B5EF4-FFF2-40B4-BE49-F238E27FC236}">
                            <a16:creationId xmlns:a16="http://schemas.microsoft.com/office/drawing/2014/main" id="{07193355-44EC-1560-E470-89331215B8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FF4AB304-C1EA-F00C-191B-424E264000BA}"/>
              </a:ext>
            </a:extLst>
          </p:cNvPr>
          <p:cNvSpPr>
            <a:spLocks noGrp="1"/>
          </p:cNvSpPr>
          <p:nvPr>
            <p:ph type="body" sz="quarter" idx="14"/>
          </p:nvPr>
        </p:nvSpPr>
        <p:spPr>
          <a:xfrm>
            <a:off x="419100" y="1453896"/>
            <a:ext cx="8305800" cy="4451475"/>
          </a:xfrm>
        </p:spPr>
        <p:txBody>
          <a:bodyPr/>
          <a:lstStyle/>
          <a:p>
            <a:r>
              <a:rPr lang="en-US" dirty="0"/>
              <a:t>Be familiar with the Brink’s Organizational Risk Appetite Statement:</a:t>
            </a:r>
          </a:p>
          <a:p>
            <a:pPr marL="454025" lvl="2" indent="0">
              <a:buNone/>
            </a:pPr>
            <a:r>
              <a:rPr lang="en-US" sz="1600" b="0" i="0" dirty="0">
                <a:solidFill>
                  <a:srgbClr val="333333"/>
                </a:solidFill>
                <a:effectLst/>
              </a:rPr>
              <a:t>At Brink’s we recognize that executing our strategy to transform and grow our business requires taking risks while staying aligned to our core values of Safety, Integrity, Customer Focus, Continuous Improvement, Engagement and Diversity &amp; Inclusion. </a:t>
            </a:r>
          </a:p>
          <a:p>
            <a:pPr marL="454025" lvl="2" indent="0">
              <a:buNone/>
            </a:pPr>
            <a:r>
              <a:rPr lang="en-US" sz="1600" b="0" i="0" dirty="0">
                <a:solidFill>
                  <a:srgbClr val="333333"/>
                </a:solidFill>
                <a:effectLst/>
              </a:rPr>
              <a:t>We make decisions taking into account the impact on our customers, employees, communities and investors. We are confident in our business model yet are constantly reimagining how to transform the Company. </a:t>
            </a:r>
          </a:p>
          <a:p>
            <a:pPr marL="454025" lvl="2" indent="0">
              <a:buNone/>
            </a:pPr>
            <a:r>
              <a:rPr lang="en-US" sz="1600" b="0" i="0" dirty="0">
                <a:solidFill>
                  <a:srgbClr val="333333"/>
                </a:solidFill>
                <a:effectLst/>
              </a:rPr>
              <a:t>As the global leader in secure logistics and cash management services, we actively manage and balance risk and return every day. We drive forward with deliberate speed, never losing sight of our commitment to deliver long-term value for our stakeholders.</a:t>
            </a:r>
            <a:endParaRPr lang="en-US" sz="1600" dirty="0"/>
          </a:p>
          <a:p>
            <a:r>
              <a:rPr lang="en-US" dirty="0"/>
              <a:t>Review information on the ERM Program, Risk Register and Risk Appetite Statements which can be found on the Intranet under Enterprise Risk Management:</a:t>
            </a:r>
          </a:p>
          <a:p>
            <a:pPr lvl="2"/>
            <a:r>
              <a:rPr lang="en-US" sz="1600" dirty="0">
                <a:hlinkClick r:id="rId5"/>
              </a:rPr>
              <a:t>Office Users </a:t>
            </a:r>
            <a:r>
              <a:rPr lang="en-US" sz="1600" dirty="0"/>
              <a:t>(must be on the Brink’s network onsite or VPN to access this link)</a:t>
            </a:r>
          </a:p>
          <a:p>
            <a:pPr lvl="2"/>
            <a:r>
              <a:rPr lang="en-US" sz="1600" dirty="0">
                <a:hlinkClick r:id="rId6"/>
              </a:rPr>
              <a:t>G-Suite Users </a:t>
            </a:r>
            <a:endParaRPr lang="en-US" sz="1600" dirty="0"/>
          </a:p>
        </p:txBody>
      </p:sp>
      <p:sp>
        <p:nvSpPr>
          <p:cNvPr id="4" name="Title 3">
            <a:extLst>
              <a:ext uri="{FF2B5EF4-FFF2-40B4-BE49-F238E27FC236}">
                <a16:creationId xmlns:a16="http://schemas.microsoft.com/office/drawing/2014/main" id="{330177BF-920A-9D84-8147-B06D843D0CA5}"/>
              </a:ext>
            </a:extLst>
          </p:cNvPr>
          <p:cNvSpPr>
            <a:spLocks noGrp="1"/>
          </p:cNvSpPr>
          <p:nvPr>
            <p:ph type="title"/>
          </p:nvPr>
        </p:nvSpPr>
        <p:spPr/>
        <p:txBody>
          <a:bodyPr vert="horz"/>
          <a:lstStyle/>
          <a:p>
            <a:r>
              <a:rPr lang="en-US" dirty="0"/>
              <a:t>Review the Enterprise Risk Management Documents</a:t>
            </a:r>
          </a:p>
        </p:txBody>
      </p:sp>
      <p:pic>
        <p:nvPicPr>
          <p:cNvPr id="12" name="Picture 11" descr="A black and white logo&#10;&#10;Description automatically generated with medium confidence">
            <a:extLst>
              <a:ext uri="{FF2B5EF4-FFF2-40B4-BE49-F238E27FC236}">
                <a16:creationId xmlns:a16="http://schemas.microsoft.com/office/drawing/2014/main" id="{BE6FA90D-3E78-1EB6-283F-4F7AAAB929B6}"/>
              </a:ext>
            </a:extLst>
          </p:cNvPr>
          <p:cNvPicPr>
            <a:picLocks noChangeAspect="1"/>
          </p:cNvPicPr>
          <p:nvPr/>
        </p:nvPicPr>
        <p:blipFill>
          <a:blip r:embed="rId7"/>
          <a:stretch>
            <a:fillRect/>
          </a:stretch>
        </p:blipFill>
        <p:spPr>
          <a:xfrm>
            <a:off x="7858310" y="223249"/>
            <a:ext cx="793565" cy="672659"/>
          </a:xfrm>
          <a:prstGeom prst="rect">
            <a:avLst/>
          </a:prstGeom>
        </p:spPr>
      </p:pic>
    </p:spTree>
    <p:extLst>
      <p:ext uri="{BB962C8B-B14F-4D97-AF65-F5344CB8AC3E}">
        <p14:creationId xmlns:p14="http://schemas.microsoft.com/office/powerpoint/2010/main" val="8607054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7193355-44EC-1560-E470-89331215B82C}"/>
              </a:ext>
            </a:extLst>
          </p:cNvPr>
          <p:cNvGraphicFramePr>
            <a:graphicFrameLocks noChangeAspect="1"/>
          </p:cNvGraphicFramePr>
          <p:nvPr>
            <p:custDataLst>
              <p:tags r:id="rId1"/>
            </p:custDataLst>
            <p:extLst>
              <p:ext uri="{D42A27DB-BD31-4B8C-83A1-F6EECF244321}">
                <p14:modId xmlns:p14="http://schemas.microsoft.com/office/powerpoint/2010/main" val="2917667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5" imgH="257" progId="TCLayout.ActiveDocument.1">
                  <p:embed/>
                </p:oleObj>
              </mc:Choice>
              <mc:Fallback>
                <p:oleObj name="think-cell Slide" r:id="rId3" imgW="255" imgH="257" progId="TCLayout.ActiveDocument.1">
                  <p:embed/>
                  <p:pic>
                    <p:nvPicPr>
                      <p:cNvPr id="6" name="Object 5" hidden="1">
                        <a:extLst>
                          <a:ext uri="{FF2B5EF4-FFF2-40B4-BE49-F238E27FC236}">
                            <a16:creationId xmlns:a16="http://schemas.microsoft.com/office/drawing/2014/main" id="{07193355-44EC-1560-E470-89331215B8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FF4AB304-C1EA-F00C-191B-424E264000BA}"/>
              </a:ext>
            </a:extLst>
          </p:cNvPr>
          <p:cNvSpPr>
            <a:spLocks noGrp="1"/>
          </p:cNvSpPr>
          <p:nvPr>
            <p:ph type="body" sz="quarter" idx="14"/>
          </p:nvPr>
        </p:nvSpPr>
        <p:spPr>
          <a:xfrm>
            <a:off x="419100" y="1453896"/>
            <a:ext cx="8305800" cy="4705904"/>
          </a:xfrm>
        </p:spPr>
        <p:txBody>
          <a:bodyPr/>
          <a:lstStyle/>
          <a:p>
            <a:pPr marL="342900" indent="-342900">
              <a:buFont typeface="+mj-lt"/>
              <a:buAutoNum type="arabicPeriod"/>
            </a:pPr>
            <a:r>
              <a:rPr lang="en-US" dirty="0"/>
              <a:t>Walk through some key questions:</a:t>
            </a:r>
          </a:p>
          <a:p>
            <a:pPr lvl="1"/>
            <a:r>
              <a:rPr lang="en-US" sz="1600" dirty="0"/>
              <a:t>Is this for a certain country? Determine the scope. </a:t>
            </a:r>
          </a:p>
          <a:p>
            <a:pPr lvl="1"/>
            <a:r>
              <a:rPr lang="en-US" sz="1600" dirty="0"/>
              <a:t>What is the effect of uncertainty on your objectives? Write down your risk definition.</a:t>
            </a:r>
          </a:p>
          <a:p>
            <a:pPr lvl="1"/>
            <a:r>
              <a:rPr lang="en-US" sz="1600" dirty="0"/>
              <a:t>What is amount and type of risk you are willing to pursue or retain? Write down your risk appetite statement.</a:t>
            </a:r>
          </a:p>
          <a:p>
            <a:pPr lvl="1"/>
            <a:r>
              <a:rPr lang="en-US" sz="1600" dirty="0"/>
              <a:t>What activities could you take to mitigate the risk? Write down your controls. </a:t>
            </a:r>
          </a:p>
          <a:p>
            <a:pPr lvl="1"/>
            <a:r>
              <a:rPr lang="en-US" sz="1600" dirty="0"/>
              <a:t>What events signal a particular risk event is becoming more or less likely? Is it measurable? Is it quantitative or qualitative? What is an acceptable range or level of performance? How often do you need to check on these events? Write down your monitoring activities or KRIs with a tolerance range and measurement frequency. Check each of these against your risk appetite statement and against the Brink’s organizational risk appetite statement to make sure they align.</a:t>
            </a:r>
          </a:p>
          <a:p>
            <a:pPr lvl="1"/>
            <a:r>
              <a:rPr lang="en-US" sz="1600" dirty="0"/>
              <a:t>Who is best to track this information and who needs to review it? Write down who the owners are to ensure clear accountability.</a:t>
            </a:r>
          </a:p>
          <a:p>
            <a:pPr marL="0" indent="0">
              <a:buNone/>
            </a:pPr>
            <a:r>
              <a:rPr lang="en-US" dirty="0"/>
              <a:t>2. Document it and keep it updated.</a:t>
            </a:r>
          </a:p>
          <a:p>
            <a:pPr marL="0" indent="0">
              <a:buNone/>
            </a:pPr>
            <a:r>
              <a:rPr lang="en-US" dirty="0"/>
              <a:t>3. Use it to make risk informed decisions!</a:t>
            </a:r>
          </a:p>
        </p:txBody>
      </p:sp>
      <p:sp>
        <p:nvSpPr>
          <p:cNvPr id="4" name="Title 3">
            <a:extLst>
              <a:ext uri="{FF2B5EF4-FFF2-40B4-BE49-F238E27FC236}">
                <a16:creationId xmlns:a16="http://schemas.microsoft.com/office/drawing/2014/main" id="{330177BF-920A-9D84-8147-B06D843D0CA5}"/>
              </a:ext>
            </a:extLst>
          </p:cNvPr>
          <p:cNvSpPr>
            <a:spLocks noGrp="1"/>
          </p:cNvSpPr>
          <p:nvPr>
            <p:ph type="title"/>
          </p:nvPr>
        </p:nvSpPr>
        <p:spPr/>
        <p:txBody>
          <a:bodyPr vert="horz"/>
          <a:lstStyle/>
          <a:p>
            <a:r>
              <a:rPr lang="en-US" dirty="0"/>
              <a:t>How do I apply this in my area?</a:t>
            </a:r>
          </a:p>
        </p:txBody>
      </p:sp>
      <p:pic>
        <p:nvPicPr>
          <p:cNvPr id="12" name="Picture 11" descr="A black and white logo&#10;&#10;Description automatically generated with medium confidence">
            <a:extLst>
              <a:ext uri="{FF2B5EF4-FFF2-40B4-BE49-F238E27FC236}">
                <a16:creationId xmlns:a16="http://schemas.microsoft.com/office/drawing/2014/main" id="{BE6FA90D-3E78-1EB6-283F-4F7AAAB929B6}"/>
              </a:ext>
            </a:extLst>
          </p:cNvPr>
          <p:cNvPicPr>
            <a:picLocks noChangeAspect="1"/>
          </p:cNvPicPr>
          <p:nvPr/>
        </p:nvPicPr>
        <p:blipFill>
          <a:blip r:embed="rId5"/>
          <a:stretch>
            <a:fillRect/>
          </a:stretch>
        </p:blipFill>
        <p:spPr>
          <a:xfrm>
            <a:off x="7858310" y="223249"/>
            <a:ext cx="793565" cy="672659"/>
          </a:xfrm>
          <a:prstGeom prst="rect">
            <a:avLst/>
          </a:prstGeom>
        </p:spPr>
      </p:pic>
    </p:spTree>
    <p:extLst>
      <p:ext uri="{BB962C8B-B14F-4D97-AF65-F5344CB8AC3E}">
        <p14:creationId xmlns:p14="http://schemas.microsoft.com/office/powerpoint/2010/main" val="41848543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1931647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5" imgH="257" progId="TCLayout.ActiveDocument.1">
                  <p:embed/>
                </p:oleObj>
              </mc:Choice>
              <mc:Fallback>
                <p:oleObj name="think-cell Slide" r:id="rId3" imgW="255" imgH="257" progId="TCLayout.ActiveDocument.1">
                  <p:embed/>
                  <p:pic>
                    <p:nvPicPr>
                      <p:cNvPr id="7"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p:cNvSpPr>
            <a:spLocks noGrp="1"/>
          </p:cNvSpPr>
          <p:nvPr>
            <p:ph type="body" sz="quarter" idx="10"/>
          </p:nvPr>
        </p:nvSpPr>
        <p:spPr/>
        <p:txBody>
          <a:bodyPr/>
          <a:lstStyle/>
          <a:p>
            <a:r>
              <a:rPr lang="en-US" dirty="0"/>
              <a:t>DOCUMENTATION</a:t>
            </a:r>
          </a:p>
        </p:txBody>
      </p:sp>
    </p:spTree>
    <p:extLst>
      <p:ext uri="{BB962C8B-B14F-4D97-AF65-F5344CB8AC3E}">
        <p14:creationId xmlns:p14="http://schemas.microsoft.com/office/powerpoint/2010/main" val="1050246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7193355-44EC-1560-E470-89331215B82C}"/>
              </a:ext>
            </a:extLst>
          </p:cNvPr>
          <p:cNvGraphicFramePr>
            <a:graphicFrameLocks noChangeAspect="1"/>
          </p:cNvGraphicFramePr>
          <p:nvPr>
            <p:custDataLst>
              <p:tags r:id="rId1"/>
            </p:custDataLst>
            <p:extLst>
              <p:ext uri="{D42A27DB-BD31-4B8C-83A1-F6EECF244321}">
                <p14:modId xmlns:p14="http://schemas.microsoft.com/office/powerpoint/2010/main" val="553911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5" imgH="257" progId="TCLayout.ActiveDocument.1">
                  <p:embed/>
                </p:oleObj>
              </mc:Choice>
              <mc:Fallback>
                <p:oleObj name="think-cell Slide" r:id="rId3" imgW="255" imgH="257" progId="TCLayout.ActiveDocument.1">
                  <p:embed/>
                  <p:pic>
                    <p:nvPicPr>
                      <p:cNvPr id="6" name="Object 5" hidden="1">
                        <a:extLst>
                          <a:ext uri="{FF2B5EF4-FFF2-40B4-BE49-F238E27FC236}">
                            <a16:creationId xmlns:a16="http://schemas.microsoft.com/office/drawing/2014/main" id="{07193355-44EC-1560-E470-89331215B8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30177BF-920A-9D84-8147-B06D843D0CA5}"/>
              </a:ext>
            </a:extLst>
          </p:cNvPr>
          <p:cNvSpPr>
            <a:spLocks noGrp="1"/>
          </p:cNvSpPr>
          <p:nvPr>
            <p:ph type="title"/>
          </p:nvPr>
        </p:nvSpPr>
        <p:spPr/>
        <p:txBody>
          <a:bodyPr vert="horz"/>
          <a:lstStyle/>
          <a:p>
            <a:r>
              <a:rPr lang="en-US" dirty="0"/>
              <a:t>Risk Template</a:t>
            </a:r>
          </a:p>
        </p:txBody>
      </p:sp>
      <p:pic>
        <p:nvPicPr>
          <p:cNvPr id="8" name="Picture 7">
            <a:extLst>
              <a:ext uri="{FF2B5EF4-FFF2-40B4-BE49-F238E27FC236}">
                <a16:creationId xmlns:a16="http://schemas.microsoft.com/office/drawing/2014/main" id="{1668C53C-02D0-0B0C-9076-9F85E8572CA0}"/>
              </a:ext>
            </a:extLst>
          </p:cNvPr>
          <p:cNvPicPr>
            <a:picLocks noChangeAspect="1"/>
          </p:cNvPicPr>
          <p:nvPr/>
        </p:nvPicPr>
        <p:blipFill>
          <a:blip r:embed="rId5"/>
          <a:stretch>
            <a:fillRect/>
          </a:stretch>
        </p:blipFill>
        <p:spPr>
          <a:xfrm>
            <a:off x="552450" y="2341484"/>
            <a:ext cx="8039100" cy="3689462"/>
          </a:xfrm>
          <a:prstGeom prst="rect">
            <a:avLst/>
          </a:prstGeom>
        </p:spPr>
      </p:pic>
      <p:pic>
        <p:nvPicPr>
          <p:cNvPr id="9" name="Picture 8" descr="A black and white logo&#10;&#10;Description automatically generated with medium confidence">
            <a:extLst>
              <a:ext uri="{FF2B5EF4-FFF2-40B4-BE49-F238E27FC236}">
                <a16:creationId xmlns:a16="http://schemas.microsoft.com/office/drawing/2014/main" id="{DB852F1D-FD9F-0D61-16C8-7052F70DDCB0}"/>
              </a:ext>
            </a:extLst>
          </p:cNvPr>
          <p:cNvPicPr>
            <a:picLocks noChangeAspect="1"/>
          </p:cNvPicPr>
          <p:nvPr/>
        </p:nvPicPr>
        <p:blipFill>
          <a:blip r:embed="rId6"/>
          <a:stretch>
            <a:fillRect/>
          </a:stretch>
        </p:blipFill>
        <p:spPr>
          <a:xfrm>
            <a:off x="7858310" y="223249"/>
            <a:ext cx="793565" cy="672659"/>
          </a:xfrm>
          <a:prstGeom prst="rect">
            <a:avLst/>
          </a:prstGeom>
        </p:spPr>
      </p:pic>
      <p:sp>
        <p:nvSpPr>
          <p:cNvPr id="10" name="Text Placeholder 1">
            <a:extLst>
              <a:ext uri="{FF2B5EF4-FFF2-40B4-BE49-F238E27FC236}">
                <a16:creationId xmlns:a16="http://schemas.microsoft.com/office/drawing/2014/main" id="{6AF5EE6C-16EA-9CD8-549C-F6F8B6E1A5EA}"/>
              </a:ext>
            </a:extLst>
          </p:cNvPr>
          <p:cNvSpPr>
            <a:spLocks noGrp="1"/>
          </p:cNvSpPr>
          <p:nvPr>
            <p:ph type="body" sz="quarter" idx="14"/>
          </p:nvPr>
        </p:nvSpPr>
        <p:spPr>
          <a:xfrm>
            <a:off x="419100" y="1032125"/>
            <a:ext cx="8305800" cy="775597"/>
          </a:xfrm>
        </p:spPr>
        <p:txBody>
          <a:bodyPr/>
          <a:lstStyle/>
          <a:p>
            <a:pPr>
              <a:spcAft>
                <a:spcPts val="0"/>
              </a:spcAft>
            </a:pPr>
            <a:r>
              <a:rPr lang="en-US"/>
              <a:t>Download the </a:t>
            </a:r>
            <a:r>
              <a:rPr lang="en-US" dirty="0"/>
              <a:t>ERM Starter Kit Template to help document your risks</a:t>
            </a:r>
          </a:p>
          <a:p>
            <a:pPr lvl="2">
              <a:spcAft>
                <a:spcPts val="0"/>
              </a:spcAft>
            </a:pPr>
            <a:r>
              <a:rPr lang="en-US" sz="1000" dirty="0">
                <a:hlinkClick r:id="rId7"/>
              </a:rPr>
              <a:t>Office Users </a:t>
            </a:r>
            <a:r>
              <a:rPr lang="en-US" sz="1000" dirty="0"/>
              <a:t>(must be on the Brink’s network onsite or VPN to access this link)</a:t>
            </a:r>
          </a:p>
          <a:p>
            <a:pPr lvl="2">
              <a:spcAft>
                <a:spcPts val="0"/>
              </a:spcAft>
            </a:pPr>
            <a:r>
              <a:rPr lang="en-US" sz="1000" dirty="0">
                <a:hlinkClick r:id="rId8"/>
              </a:rPr>
              <a:t>G-Suite Users </a:t>
            </a:r>
            <a:endParaRPr lang="en-US" sz="1000" dirty="0"/>
          </a:p>
          <a:p>
            <a:r>
              <a:rPr lang="en-US" dirty="0"/>
              <a:t>Modify the template to accommodate your needs and situation</a:t>
            </a:r>
          </a:p>
        </p:txBody>
      </p:sp>
    </p:spTree>
    <p:extLst>
      <p:ext uri="{BB962C8B-B14F-4D97-AF65-F5344CB8AC3E}">
        <p14:creationId xmlns:p14="http://schemas.microsoft.com/office/powerpoint/2010/main" val="19059309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191BDED-4122-5FA0-F6D0-E2BFBFF9079B}"/>
              </a:ext>
            </a:extLst>
          </p:cNvPr>
          <p:cNvGraphicFramePr>
            <a:graphicFrameLocks noChangeAspect="1"/>
          </p:cNvGraphicFramePr>
          <p:nvPr>
            <p:custDataLst>
              <p:tags r:id="rId1"/>
            </p:custDataLst>
            <p:extLst>
              <p:ext uri="{D42A27DB-BD31-4B8C-83A1-F6EECF244321}">
                <p14:modId xmlns:p14="http://schemas.microsoft.com/office/powerpoint/2010/main" val="3029965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5" imgH="257" progId="TCLayout.ActiveDocument.1">
                  <p:embed/>
                </p:oleObj>
              </mc:Choice>
              <mc:Fallback>
                <p:oleObj name="think-cell Slide" r:id="rId3" imgW="255" imgH="257" progId="TCLayout.ActiveDocument.1">
                  <p:embed/>
                  <p:pic>
                    <p:nvPicPr>
                      <p:cNvPr id="6" name="Object 5" hidden="1">
                        <a:extLst>
                          <a:ext uri="{FF2B5EF4-FFF2-40B4-BE49-F238E27FC236}">
                            <a16:creationId xmlns:a16="http://schemas.microsoft.com/office/drawing/2014/main" id="{5191BDED-4122-5FA0-F6D0-E2BFBFF907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441A6C8A-8671-4AA9-35D6-DF0EF3629523}"/>
              </a:ext>
            </a:extLst>
          </p:cNvPr>
          <p:cNvSpPr>
            <a:spLocks noGrp="1"/>
          </p:cNvSpPr>
          <p:nvPr>
            <p:ph type="body" sz="quarter" idx="10"/>
          </p:nvPr>
        </p:nvSpPr>
        <p:spPr/>
        <p:txBody>
          <a:bodyPr/>
          <a:lstStyle/>
          <a:p>
            <a:r>
              <a:rPr lang="en-US" dirty="0"/>
              <a:t>QUESTIONS?</a:t>
            </a:r>
          </a:p>
        </p:txBody>
      </p:sp>
      <p:sp>
        <p:nvSpPr>
          <p:cNvPr id="5" name="Text Placeholder 4">
            <a:extLst>
              <a:ext uri="{FF2B5EF4-FFF2-40B4-BE49-F238E27FC236}">
                <a16:creationId xmlns:a16="http://schemas.microsoft.com/office/drawing/2014/main" id="{E4D39724-4097-6457-EC82-5525CE65B004}"/>
              </a:ext>
            </a:extLst>
          </p:cNvPr>
          <p:cNvSpPr>
            <a:spLocks noGrp="1"/>
          </p:cNvSpPr>
          <p:nvPr>
            <p:ph type="body" sz="quarter" idx="11"/>
          </p:nvPr>
        </p:nvSpPr>
        <p:spPr/>
        <p:txBody>
          <a:bodyPr/>
          <a:lstStyle/>
          <a:p>
            <a:r>
              <a:rPr lang="en-US" sz="1800" dirty="0"/>
              <a:t>For Questions on this Kit or the ERM Program,</a:t>
            </a:r>
          </a:p>
          <a:p>
            <a:r>
              <a:rPr lang="en-US" sz="1800" dirty="0"/>
              <a:t>Contact Kristina Keller</a:t>
            </a:r>
          </a:p>
          <a:p>
            <a:r>
              <a:rPr lang="en-US" sz="1800" dirty="0">
                <a:hlinkClick r:id="rId5">
                  <a:extLst>
                    <a:ext uri="{A12FA001-AC4F-418D-AE19-62706E023703}">
                      <ahyp:hlinkClr xmlns:ahyp="http://schemas.microsoft.com/office/drawing/2018/hyperlinkcolor" val="tx"/>
                    </a:ext>
                  </a:extLst>
                </a:hlinkClick>
              </a:rPr>
              <a:t>kristina.keller@brinks.com</a:t>
            </a:r>
            <a:endParaRPr lang="en-US" sz="1800" dirty="0"/>
          </a:p>
          <a:p>
            <a:endParaRPr lang="en-US" sz="1800" dirty="0"/>
          </a:p>
        </p:txBody>
      </p:sp>
    </p:spTree>
    <p:extLst>
      <p:ext uri="{BB962C8B-B14F-4D97-AF65-F5344CB8AC3E}">
        <p14:creationId xmlns:p14="http://schemas.microsoft.com/office/powerpoint/2010/main" val="267992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01CEE1-37FE-27CF-B1ED-C8443EB71F80}"/>
              </a:ext>
            </a:extLst>
          </p:cNvPr>
          <p:cNvGraphicFramePr>
            <a:graphicFrameLocks noChangeAspect="1"/>
          </p:cNvGraphicFramePr>
          <p:nvPr>
            <p:custDataLst>
              <p:tags r:id="rId1"/>
            </p:custDataLst>
            <p:extLst>
              <p:ext uri="{D42A27DB-BD31-4B8C-83A1-F6EECF244321}">
                <p14:modId xmlns:p14="http://schemas.microsoft.com/office/powerpoint/2010/main" val="2542778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5" imgH="257" progId="TCLayout.ActiveDocument.1">
                  <p:embed/>
                </p:oleObj>
              </mc:Choice>
              <mc:Fallback>
                <p:oleObj name="think-cell Slide" r:id="rId3" imgW="255" imgH="257" progId="TCLayout.ActiveDocument.1">
                  <p:embed/>
                  <p:pic>
                    <p:nvPicPr>
                      <p:cNvPr id="6" name="Object 5" hidden="1">
                        <a:extLst>
                          <a:ext uri="{FF2B5EF4-FFF2-40B4-BE49-F238E27FC236}">
                            <a16:creationId xmlns:a16="http://schemas.microsoft.com/office/drawing/2014/main" id="{3A01CEE1-37FE-27CF-B1ED-C8443EB71F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6A07C47D-0F83-5FAF-477C-2AA1CB6AA50C}"/>
              </a:ext>
            </a:extLst>
          </p:cNvPr>
          <p:cNvSpPr>
            <a:spLocks noGrp="1"/>
          </p:cNvSpPr>
          <p:nvPr>
            <p:ph type="body" sz="quarter" idx="14"/>
          </p:nvPr>
        </p:nvSpPr>
        <p:spPr>
          <a:xfrm>
            <a:off x="419100" y="1453896"/>
            <a:ext cx="8305800" cy="1361911"/>
          </a:xfrm>
        </p:spPr>
        <p:txBody>
          <a:bodyPr/>
          <a:lstStyle/>
          <a:p>
            <a:r>
              <a:rPr lang="en-US" dirty="0"/>
              <a:t>To introduce ERM concepts down into the organization, we have created an ERM Starter Kit to help you begin to think about risk tolerance within your slice of the organization.</a:t>
            </a:r>
          </a:p>
          <a:p>
            <a:r>
              <a:rPr lang="en-US" dirty="0"/>
              <a:t>This toolkit can be used for a region or country to a station or down to a department.</a:t>
            </a:r>
          </a:p>
        </p:txBody>
      </p:sp>
      <p:sp>
        <p:nvSpPr>
          <p:cNvPr id="4" name="Title 3">
            <a:extLst>
              <a:ext uri="{FF2B5EF4-FFF2-40B4-BE49-F238E27FC236}">
                <a16:creationId xmlns:a16="http://schemas.microsoft.com/office/drawing/2014/main" id="{66CFC26E-31C7-0FFC-89A2-3B54549E9DDB}"/>
              </a:ext>
            </a:extLst>
          </p:cNvPr>
          <p:cNvSpPr>
            <a:spLocks noGrp="1"/>
          </p:cNvSpPr>
          <p:nvPr>
            <p:ph type="title"/>
          </p:nvPr>
        </p:nvSpPr>
        <p:spPr/>
        <p:txBody>
          <a:bodyPr vert="horz"/>
          <a:lstStyle/>
          <a:p>
            <a:r>
              <a:rPr lang="en-US" dirty="0"/>
              <a:t>Purpose</a:t>
            </a:r>
          </a:p>
        </p:txBody>
      </p:sp>
      <p:pic>
        <p:nvPicPr>
          <p:cNvPr id="7" name="Picture 6" descr="A black and white logo&#10;&#10;Description automatically generated with medium confidence">
            <a:extLst>
              <a:ext uri="{FF2B5EF4-FFF2-40B4-BE49-F238E27FC236}">
                <a16:creationId xmlns:a16="http://schemas.microsoft.com/office/drawing/2014/main" id="{9716E48B-EBF2-DFBF-227C-A292D881D2E8}"/>
              </a:ext>
            </a:extLst>
          </p:cNvPr>
          <p:cNvPicPr>
            <a:picLocks noChangeAspect="1"/>
          </p:cNvPicPr>
          <p:nvPr/>
        </p:nvPicPr>
        <p:blipFill>
          <a:blip r:embed="rId5"/>
          <a:stretch>
            <a:fillRect/>
          </a:stretch>
        </p:blipFill>
        <p:spPr>
          <a:xfrm>
            <a:off x="7858310" y="223249"/>
            <a:ext cx="793565" cy="672659"/>
          </a:xfrm>
          <a:prstGeom prst="rect">
            <a:avLst/>
          </a:prstGeom>
        </p:spPr>
      </p:pic>
    </p:spTree>
    <p:extLst>
      <p:ext uri="{BB962C8B-B14F-4D97-AF65-F5344CB8AC3E}">
        <p14:creationId xmlns:p14="http://schemas.microsoft.com/office/powerpoint/2010/main" val="31204431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1677760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5" imgH="257" progId="TCLayout.ActiveDocument.1">
                  <p:embed/>
                </p:oleObj>
              </mc:Choice>
              <mc:Fallback>
                <p:oleObj name="think-cell Slide" r:id="rId3" imgW="255" imgH="257" progId="TCLayout.ActiveDocument.1">
                  <p:embed/>
                  <p:pic>
                    <p:nvPicPr>
                      <p:cNvPr id="7"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p:cNvSpPr>
            <a:spLocks noGrp="1"/>
          </p:cNvSpPr>
          <p:nvPr>
            <p:ph type="body" sz="quarter" idx="10"/>
          </p:nvPr>
        </p:nvSpPr>
        <p:spPr/>
        <p:txBody>
          <a:bodyPr/>
          <a:lstStyle/>
          <a:p>
            <a:r>
              <a:rPr lang="en-US" dirty="0"/>
              <a:t>TERMINOLOGY</a:t>
            </a:r>
          </a:p>
        </p:txBody>
      </p:sp>
    </p:spTree>
    <p:extLst>
      <p:ext uri="{BB962C8B-B14F-4D97-AF65-F5344CB8AC3E}">
        <p14:creationId xmlns:p14="http://schemas.microsoft.com/office/powerpoint/2010/main" val="10138022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78B66AC-737B-CB5D-59A7-397444CFC598}"/>
              </a:ext>
            </a:extLst>
          </p:cNvPr>
          <p:cNvGraphicFramePr>
            <a:graphicFrameLocks noChangeAspect="1"/>
          </p:cNvGraphicFramePr>
          <p:nvPr>
            <p:custDataLst>
              <p:tags r:id="rId1"/>
            </p:custDataLst>
            <p:extLst>
              <p:ext uri="{D42A27DB-BD31-4B8C-83A1-F6EECF244321}">
                <p14:modId xmlns:p14="http://schemas.microsoft.com/office/powerpoint/2010/main" val="2988737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5" imgH="257" progId="TCLayout.ActiveDocument.1">
                  <p:embed/>
                </p:oleObj>
              </mc:Choice>
              <mc:Fallback>
                <p:oleObj name="think-cell Slide" r:id="rId3" imgW="255" imgH="257" progId="TCLayout.ActiveDocument.1">
                  <p:embed/>
                  <p:pic>
                    <p:nvPicPr>
                      <p:cNvPr id="6" name="Object 5" hidden="1">
                        <a:extLst>
                          <a:ext uri="{FF2B5EF4-FFF2-40B4-BE49-F238E27FC236}">
                            <a16:creationId xmlns:a16="http://schemas.microsoft.com/office/drawing/2014/main" id="{478B66AC-737B-CB5D-59A7-397444CFC5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1317EAC-6E2D-9AFB-F39E-D311C1812AB5}"/>
              </a:ext>
            </a:extLst>
          </p:cNvPr>
          <p:cNvSpPr>
            <a:spLocks noGrp="1"/>
          </p:cNvSpPr>
          <p:nvPr>
            <p:ph type="body" sz="quarter" idx="14"/>
          </p:nvPr>
        </p:nvSpPr>
        <p:spPr>
          <a:xfrm>
            <a:off x="419100" y="1453896"/>
            <a:ext cx="8305800" cy="249299"/>
          </a:xfrm>
        </p:spPr>
        <p:txBody>
          <a:bodyPr/>
          <a:lstStyle/>
          <a:p>
            <a:r>
              <a:rPr lang="en-US" dirty="0"/>
              <a:t>Clearly outlines the effect of uncertainty on your objectives.</a:t>
            </a:r>
          </a:p>
        </p:txBody>
      </p:sp>
      <p:sp>
        <p:nvSpPr>
          <p:cNvPr id="4" name="Title 3">
            <a:extLst>
              <a:ext uri="{FF2B5EF4-FFF2-40B4-BE49-F238E27FC236}">
                <a16:creationId xmlns:a16="http://schemas.microsoft.com/office/drawing/2014/main" id="{65CE5BFE-A1E4-D1BF-2004-068614FF4EB2}"/>
              </a:ext>
            </a:extLst>
          </p:cNvPr>
          <p:cNvSpPr>
            <a:spLocks noGrp="1"/>
          </p:cNvSpPr>
          <p:nvPr>
            <p:ph type="title"/>
          </p:nvPr>
        </p:nvSpPr>
        <p:spPr/>
        <p:txBody>
          <a:bodyPr vert="horz"/>
          <a:lstStyle/>
          <a:p>
            <a:r>
              <a:rPr lang="en-US" dirty="0"/>
              <a:t>Risk Definition</a:t>
            </a:r>
          </a:p>
        </p:txBody>
      </p:sp>
      <p:sp>
        <p:nvSpPr>
          <p:cNvPr id="15" name="TextBox 14">
            <a:extLst>
              <a:ext uri="{FF2B5EF4-FFF2-40B4-BE49-F238E27FC236}">
                <a16:creationId xmlns:a16="http://schemas.microsoft.com/office/drawing/2014/main" id="{08F85AF3-B23F-4905-BE76-99D3C6D1DBA9}"/>
              </a:ext>
            </a:extLst>
          </p:cNvPr>
          <p:cNvSpPr txBox="1"/>
          <p:nvPr/>
        </p:nvSpPr>
        <p:spPr>
          <a:xfrm>
            <a:off x="1481137" y="5756722"/>
            <a:ext cx="6181725" cy="671915"/>
          </a:xfrm>
          <a:prstGeom prst="rect">
            <a:avLst/>
          </a:prstGeom>
          <a:solidFill>
            <a:srgbClr val="0A498E"/>
          </a:solidFill>
        </p:spPr>
        <p:txBody>
          <a:bodyPr wrap="square">
            <a:spAutoFit/>
          </a:bodyPr>
          <a:lstStyle/>
          <a:p>
            <a:pPr marL="0" marR="0" indent="0" algn="ctr">
              <a:lnSpc>
                <a:spcPct val="107000"/>
              </a:lnSpc>
              <a:spcBef>
                <a:spcPts val="0"/>
              </a:spcBef>
              <a:spcAft>
                <a:spcPts val="800"/>
              </a:spcAft>
              <a:buNone/>
            </a:pPr>
            <a:r>
              <a:rPr lang="en-US" sz="18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WATCH THIS 4:53 CLIP ON WHAT IS A RISK?  </a:t>
            </a:r>
            <a:r>
              <a:rPr lang="en-US" sz="1800" u="sng"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hlinkClick r:id="rId5">
                  <a:extLst>
                    <a:ext uri="{A12FA001-AC4F-418D-AE19-62706E023703}">
                      <ahyp:hlinkClr xmlns:ahyp="http://schemas.microsoft.com/office/drawing/2018/hyperlinkcolor" val="tx"/>
                    </a:ext>
                  </a:extLst>
                </a:hlinkClick>
              </a:rPr>
              <a:t>https://www.youtube.com/watch?v=tV9jtS1eJT0</a:t>
            </a:r>
            <a:endParaRPr lang="en-US" sz="1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23" name="Group 22">
            <a:extLst>
              <a:ext uri="{FF2B5EF4-FFF2-40B4-BE49-F238E27FC236}">
                <a16:creationId xmlns:a16="http://schemas.microsoft.com/office/drawing/2014/main" id="{C1D5E214-6323-99C7-612D-D700CE6233A5}"/>
              </a:ext>
            </a:extLst>
          </p:cNvPr>
          <p:cNvGrpSpPr/>
          <p:nvPr/>
        </p:nvGrpSpPr>
        <p:grpSpPr>
          <a:xfrm>
            <a:off x="1714499" y="2299416"/>
            <a:ext cx="5541954" cy="2861085"/>
            <a:chOff x="1714499" y="2299416"/>
            <a:chExt cx="5541954" cy="2861085"/>
          </a:xfrm>
        </p:grpSpPr>
        <p:pic>
          <p:nvPicPr>
            <p:cNvPr id="19" name="Picture 18">
              <a:extLst>
                <a:ext uri="{FF2B5EF4-FFF2-40B4-BE49-F238E27FC236}">
                  <a16:creationId xmlns:a16="http://schemas.microsoft.com/office/drawing/2014/main" id="{EE9A1911-7DE1-ED38-003B-33DC8E104206}"/>
                </a:ext>
              </a:extLst>
            </p:cNvPr>
            <p:cNvPicPr>
              <a:picLocks noChangeAspect="1"/>
            </p:cNvPicPr>
            <p:nvPr/>
          </p:nvPicPr>
          <p:blipFill>
            <a:blip r:embed="rId6"/>
            <a:stretch>
              <a:fillRect/>
            </a:stretch>
          </p:blipFill>
          <p:spPr>
            <a:xfrm>
              <a:off x="1714499" y="2299416"/>
              <a:ext cx="5286375" cy="2861085"/>
            </a:xfrm>
            <a:prstGeom prst="rect">
              <a:avLst/>
            </a:prstGeom>
          </p:spPr>
        </p:pic>
        <p:sp>
          <p:nvSpPr>
            <p:cNvPr id="20" name="TextBox 19">
              <a:extLst>
                <a:ext uri="{FF2B5EF4-FFF2-40B4-BE49-F238E27FC236}">
                  <a16:creationId xmlns:a16="http://schemas.microsoft.com/office/drawing/2014/main" id="{4B972F50-073A-C773-E820-99A00D978D42}"/>
                </a:ext>
              </a:extLst>
            </p:cNvPr>
            <p:cNvSpPr txBox="1"/>
            <p:nvPr/>
          </p:nvSpPr>
          <p:spPr>
            <a:xfrm>
              <a:off x="4213228" y="3814737"/>
              <a:ext cx="1662635" cy="246221"/>
            </a:xfrm>
            <a:prstGeom prst="rect">
              <a:avLst/>
            </a:prstGeom>
            <a:solidFill>
              <a:schemeClr val="bg1"/>
            </a:solidFill>
          </p:spPr>
          <p:txBody>
            <a:bodyPr wrap="none" lIns="0" tIns="0" rIns="0" bIns="0" rtlCol="0">
              <a:spAutoFit/>
            </a:bodyPr>
            <a:lstStyle/>
            <a:p>
              <a:pPr algn="l">
                <a:spcBef>
                  <a:spcPts val="0"/>
                </a:spcBef>
                <a:spcAft>
                  <a:spcPts val="1200"/>
                </a:spcAft>
              </a:pPr>
              <a:r>
                <a:rPr lang="en-US" sz="1600" dirty="0">
                  <a:latin typeface="Arial Black" panose="020B0A04020102020204" pitchFamily="34" charset="0"/>
                </a:rPr>
                <a:t>UNCERTAINTY</a:t>
              </a:r>
            </a:p>
          </p:txBody>
        </p:sp>
        <p:sp>
          <p:nvSpPr>
            <p:cNvPr id="21" name="TextBox 20">
              <a:extLst>
                <a:ext uri="{FF2B5EF4-FFF2-40B4-BE49-F238E27FC236}">
                  <a16:creationId xmlns:a16="http://schemas.microsoft.com/office/drawing/2014/main" id="{9216DFCC-01AC-88DF-AB63-E74BA6C8A363}"/>
                </a:ext>
              </a:extLst>
            </p:cNvPr>
            <p:cNvSpPr txBox="1"/>
            <p:nvPr/>
          </p:nvSpPr>
          <p:spPr>
            <a:xfrm>
              <a:off x="5945197" y="4914280"/>
              <a:ext cx="1311256" cy="246221"/>
            </a:xfrm>
            <a:prstGeom prst="rect">
              <a:avLst/>
            </a:prstGeom>
            <a:solidFill>
              <a:schemeClr val="bg1"/>
            </a:solidFill>
          </p:spPr>
          <p:txBody>
            <a:bodyPr wrap="none" lIns="0" tIns="0" rIns="0" bIns="0" rtlCol="0">
              <a:spAutoFit/>
            </a:bodyPr>
            <a:lstStyle/>
            <a:p>
              <a:pPr algn="l">
                <a:spcBef>
                  <a:spcPts val="0"/>
                </a:spcBef>
                <a:spcAft>
                  <a:spcPts val="1200"/>
                </a:spcAft>
              </a:pPr>
              <a:r>
                <a:rPr lang="en-US" sz="1600" dirty="0">
                  <a:latin typeface="Arial Black" panose="020B0A04020102020204" pitchFamily="34" charset="0"/>
                </a:rPr>
                <a:t>OBJECTIVE</a:t>
              </a:r>
            </a:p>
          </p:txBody>
        </p:sp>
        <p:sp>
          <p:nvSpPr>
            <p:cNvPr id="22" name="Rectangle 21">
              <a:extLst>
                <a:ext uri="{FF2B5EF4-FFF2-40B4-BE49-F238E27FC236}">
                  <a16:creationId xmlns:a16="http://schemas.microsoft.com/office/drawing/2014/main" id="{FCD127FA-C43E-DB8F-8060-3A9792158495}"/>
                </a:ext>
              </a:extLst>
            </p:cNvPr>
            <p:cNvSpPr/>
            <p:nvPr/>
          </p:nvSpPr>
          <p:spPr>
            <a:xfrm>
              <a:off x="1924050" y="4914280"/>
              <a:ext cx="1419225" cy="2462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pic>
        <p:nvPicPr>
          <p:cNvPr id="12" name="Picture 11" descr="A black and white logo&#10;&#10;Description automatically generated with medium confidence">
            <a:extLst>
              <a:ext uri="{FF2B5EF4-FFF2-40B4-BE49-F238E27FC236}">
                <a16:creationId xmlns:a16="http://schemas.microsoft.com/office/drawing/2014/main" id="{5982A863-EFA5-0766-D788-B63866BB9FB0}"/>
              </a:ext>
            </a:extLst>
          </p:cNvPr>
          <p:cNvPicPr>
            <a:picLocks noChangeAspect="1"/>
          </p:cNvPicPr>
          <p:nvPr/>
        </p:nvPicPr>
        <p:blipFill>
          <a:blip r:embed="rId7"/>
          <a:stretch>
            <a:fillRect/>
          </a:stretch>
        </p:blipFill>
        <p:spPr>
          <a:xfrm>
            <a:off x="7858310" y="223249"/>
            <a:ext cx="793565" cy="672659"/>
          </a:xfrm>
          <a:prstGeom prst="rect">
            <a:avLst/>
          </a:prstGeom>
        </p:spPr>
      </p:pic>
    </p:spTree>
    <p:extLst>
      <p:ext uri="{BB962C8B-B14F-4D97-AF65-F5344CB8AC3E}">
        <p14:creationId xmlns:p14="http://schemas.microsoft.com/office/powerpoint/2010/main" val="40747385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78B66AC-737B-CB5D-59A7-397444CFC598}"/>
              </a:ext>
            </a:extLst>
          </p:cNvPr>
          <p:cNvGraphicFramePr>
            <a:graphicFrameLocks noChangeAspect="1"/>
          </p:cNvGraphicFramePr>
          <p:nvPr>
            <p:custDataLst>
              <p:tags r:id="rId1"/>
            </p:custDataLst>
            <p:extLst>
              <p:ext uri="{D42A27DB-BD31-4B8C-83A1-F6EECF244321}">
                <p14:modId xmlns:p14="http://schemas.microsoft.com/office/powerpoint/2010/main" val="1241621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5" imgH="257" progId="TCLayout.ActiveDocument.1">
                  <p:embed/>
                </p:oleObj>
              </mc:Choice>
              <mc:Fallback>
                <p:oleObj name="think-cell Slide" r:id="rId3" imgW="255" imgH="257" progId="TCLayout.ActiveDocument.1">
                  <p:embed/>
                  <p:pic>
                    <p:nvPicPr>
                      <p:cNvPr id="6" name="Object 5" hidden="1">
                        <a:extLst>
                          <a:ext uri="{FF2B5EF4-FFF2-40B4-BE49-F238E27FC236}">
                            <a16:creationId xmlns:a16="http://schemas.microsoft.com/office/drawing/2014/main" id="{478B66AC-737B-CB5D-59A7-397444CFC5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1317EAC-6E2D-9AFB-F39E-D311C1812AB5}"/>
              </a:ext>
            </a:extLst>
          </p:cNvPr>
          <p:cNvSpPr>
            <a:spLocks noGrp="1"/>
          </p:cNvSpPr>
          <p:nvPr>
            <p:ph type="body" sz="quarter" idx="14"/>
          </p:nvPr>
        </p:nvSpPr>
        <p:spPr>
          <a:xfrm>
            <a:off x="419100" y="1453896"/>
            <a:ext cx="8305800" cy="249299"/>
          </a:xfrm>
        </p:spPr>
        <p:txBody>
          <a:bodyPr/>
          <a:lstStyle/>
          <a:p>
            <a:r>
              <a:rPr lang="en-US" dirty="0"/>
              <a:t>The amount and type of risk you are willing to pursue or retain.</a:t>
            </a:r>
          </a:p>
        </p:txBody>
      </p:sp>
      <p:sp>
        <p:nvSpPr>
          <p:cNvPr id="4" name="Title 3">
            <a:extLst>
              <a:ext uri="{FF2B5EF4-FFF2-40B4-BE49-F238E27FC236}">
                <a16:creationId xmlns:a16="http://schemas.microsoft.com/office/drawing/2014/main" id="{65CE5BFE-A1E4-D1BF-2004-068614FF4EB2}"/>
              </a:ext>
            </a:extLst>
          </p:cNvPr>
          <p:cNvSpPr>
            <a:spLocks noGrp="1"/>
          </p:cNvSpPr>
          <p:nvPr>
            <p:ph type="title"/>
          </p:nvPr>
        </p:nvSpPr>
        <p:spPr/>
        <p:txBody>
          <a:bodyPr vert="horz"/>
          <a:lstStyle/>
          <a:p>
            <a:r>
              <a:rPr lang="en-US" dirty="0"/>
              <a:t>Risk Appetite Statement</a:t>
            </a:r>
          </a:p>
        </p:txBody>
      </p:sp>
      <p:sp>
        <p:nvSpPr>
          <p:cNvPr id="9" name="TextBox 8">
            <a:extLst>
              <a:ext uri="{FF2B5EF4-FFF2-40B4-BE49-F238E27FC236}">
                <a16:creationId xmlns:a16="http://schemas.microsoft.com/office/drawing/2014/main" id="{E9F15DD8-801F-4615-BF79-7EAFD749C5AD}"/>
              </a:ext>
            </a:extLst>
          </p:cNvPr>
          <p:cNvSpPr txBox="1"/>
          <p:nvPr/>
        </p:nvSpPr>
        <p:spPr>
          <a:xfrm>
            <a:off x="1560424" y="5732529"/>
            <a:ext cx="6181725" cy="671915"/>
          </a:xfrm>
          <a:prstGeom prst="rect">
            <a:avLst/>
          </a:prstGeom>
          <a:solidFill>
            <a:srgbClr val="0A498E"/>
          </a:solidFill>
        </p:spPr>
        <p:txBody>
          <a:bodyPr wrap="square">
            <a:spAutoFit/>
          </a:bodyPr>
          <a:lstStyle/>
          <a:p>
            <a:pPr marL="0" marR="0" indent="0" algn="ctr">
              <a:lnSpc>
                <a:spcPct val="107000"/>
              </a:lnSpc>
              <a:spcBef>
                <a:spcPts val="0"/>
              </a:spcBef>
              <a:spcAft>
                <a:spcPts val="800"/>
              </a:spcAft>
              <a:buNone/>
            </a:pPr>
            <a:r>
              <a:rPr lang="en-US" sz="18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WATCH THIS 2:30 CLIP ON WHAT IS A RISK APPETITE? </a:t>
            </a:r>
            <a:r>
              <a:rPr lang="en-US" sz="1800" u="sng"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hlinkClick r:id="rId5">
                  <a:extLst>
                    <a:ext uri="{A12FA001-AC4F-418D-AE19-62706E023703}">
                      <ahyp:hlinkClr xmlns:ahyp="http://schemas.microsoft.com/office/drawing/2018/hyperlinkcolor" val="tx"/>
                    </a:ext>
                  </a:extLst>
                </a:hlinkClick>
              </a:rPr>
              <a:t>https://www.youtube.com/watch?v=mjWw4fqGXsc</a:t>
            </a:r>
            <a:endParaRPr lang="en-US" sz="1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39" name="Group 38">
            <a:extLst>
              <a:ext uri="{FF2B5EF4-FFF2-40B4-BE49-F238E27FC236}">
                <a16:creationId xmlns:a16="http://schemas.microsoft.com/office/drawing/2014/main" id="{41331876-9AA1-8F45-D377-E989831DB374}"/>
              </a:ext>
            </a:extLst>
          </p:cNvPr>
          <p:cNvGrpSpPr/>
          <p:nvPr/>
        </p:nvGrpSpPr>
        <p:grpSpPr>
          <a:xfrm>
            <a:off x="1647808" y="2064089"/>
            <a:ext cx="6040435" cy="3018384"/>
            <a:chOff x="1647808" y="2064089"/>
            <a:chExt cx="6040435" cy="3018384"/>
          </a:xfrm>
        </p:grpSpPr>
        <p:pic>
          <p:nvPicPr>
            <p:cNvPr id="19" name="Picture 18">
              <a:extLst>
                <a:ext uri="{FF2B5EF4-FFF2-40B4-BE49-F238E27FC236}">
                  <a16:creationId xmlns:a16="http://schemas.microsoft.com/office/drawing/2014/main" id="{9F49F976-B36A-9A1A-58E6-A03D390934E7}"/>
                </a:ext>
              </a:extLst>
            </p:cNvPr>
            <p:cNvPicPr>
              <a:picLocks noChangeAspect="1"/>
            </p:cNvPicPr>
            <p:nvPr/>
          </p:nvPicPr>
          <p:blipFill>
            <a:blip r:embed="rId6"/>
            <a:stretch>
              <a:fillRect/>
            </a:stretch>
          </p:blipFill>
          <p:spPr>
            <a:xfrm>
              <a:off x="1647808" y="2336329"/>
              <a:ext cx="5619750" cy="2505075"/>
            </a:xfrm>
            <a:prstGeom prst="rect">
              <a:avLst/>
            </a:prstGeom>
          </p:spPr>
        </p:pic>
        <p:sp>
          <p:nvSpPr>
            <p:cNvPr id="20" name="TextBox 19">
              <a:extLst>
                <a:ext uri="{FF2B5EF4-FFF2-40B4-BE49-F238E27FC236}">
                  <a16:creationId xmlns:a16="http://schemas.microsoft.com/office/drawing/2014/main" id="{78A99300-7357-E316-CBCB-2146E3446D99}"/>
                </a:ext>
              </a:extLst>
            </p:cNvPr>
            <p:cNvSpPr txBox="1"/>
            <p:nvPr/>
          </p:nvSpPr>
          <p:spPr>
            <a:xfrm>
              <a:off x="3703124" y="2411306"/>
              <a:ext cx="761427" cy="184666"/>
            </a:xfrm>
            <a:prstGeom prst="rect">
              <a:avLst/>
            </a:prstGeom>
          </p:spPr>
          <p:txBody>
            <a:bodyPr wrap="none" lIns="0" tIns="0" rIns="0" bIns="0" rtlCol="0">
              <a:spAutoFit/>
            </a:bodyPr>
            <a:lstStyle/>
            <a:p>
              <a:pPr algn="l">
                <a:spcBef>
                  <a:spcPts val="0"/>
                </a:spcBef>
                <a:spcAft>
                  <a:spcPts val="1200"/>
                </a:spcAft>
              </a:pPr>
              <a:r>
                <a:rPr lang="en-US" sz="1200" dirty="0">
                  <a:latin typeface="Arial Black" panose="020B0A04020102020204" pitchFamily="34" charset="0"/>
                </a:rPr>
                <a:t>AMOUNT</a:t>
              </a:r>
            </a:p>
          </p:txBody>
        </p:sp>
        <p:sp>
          <p:nvSpPr>
            <p:cNvPr id="21" name="TextBox 20">
              <a:extLst>
                <a:ext uri="{FF2B5EF4-FFF2-40B4-BE49-F238E27FC236}">
                  <a16:creationId xmlns:a16="http://schemas.microsoft.com/office/drawing/2014/main" id="{2E214909-7B34-66B9-D843-EA78256A888B}"/>
                </a:ext>
              </a:extLst>
            </p:cNvPr>
            <p:cNvSpPr txBox="1"/>
            <p:nvPr/>
          </p:nvSpPr>
          <p:spPr>
            <a:xfrm>
              <a:off x="5417404" y="2407206"/>
              <a:ext cx="452047" cy="184666"/>
            </a:xfrm>
            <a:prstGeom prst="rect">
              <a:avLst/>
            </a:prstGeom>
          </p:spPr>
          <p:txBody>
            <a:bodyPr wrap="none" lIns="0" tIns="0" rIns="0" bIns="0" rtlCol="0">
              <a:spAutoFit/>
            </a:bodyPr>
            <a:lstStyle/>
            <a:p>
              <a:pPr algn="l">
                <a:spcBef>
                  <a:spcPts val="0"/>
                </a:spcBef>
                <a:spcAft>
                  <a:spcPts val="1200"/>
                </a:spcAft>
              </a:pPr>
              <a:r>
                <a:rPr lang="en-US" sz="1200" dirty="0">
                  <a:latin typeface="Arial Black" panose="020B0A04020102020204" pitchFamily="34" charset="0"/>
                </a:rPr>
                <a:t>TYPE</a:t>
              </a:r>
            </a:p>
          </p:txBody>
        </p:sp>
        <p:sp>
          <p:nvSpPr>
            <p:cNvPr id="22" name="TextBox 21">
              <a:extLst>
                <a:ext uri="{FF2B5EF4-FFF2-40B4-BE49-F238E27FC236}">
                  <a16:creationId xmlns:a16="http://schemas.microsoft.com/office/drawing/2014/main" id="{DD129562-C135-CA33-0F35-FBE78F199124}"/>
                </a:ext>
              </a:extLst>
            </p:cNvPr>
            <p:cNvSpPr txBox="1"/>
            <p:nvPr/>
          </p:nvSpPr>
          <p:spPr>
            <a:xfrm>
              <a:off x="3980793" y="2064089"/>
              <a:ext cx="1662635" cy="246221"/>
            </a:xfrm>
            <a:prstGeom prst="rect">
              <a:avLst/>
            </a:prstGeom>
          </p:spPr>
          <p:txBody>
            <a:bodyPr wrap="none" lIns="0" tIns="0" rIns="0" bIns="0" rtlCol="0">
              <a:spAutoFit/>
            </a:bodyPr>
            <a:lstStyle/>
            <a:p>
              <a:pPr algn="l">
                <a:spcBef>
                  <a:spcPts val="0"/>
                </a:spcBef>
                <a:spcAft>
                  <a:spcPts val="1200"/>
                </a:spcAft>
              </a:pPr>
              <a:r>
                <a:rPr lang="en-US" sz="1600" dirty="0">
                  <a:latin typeface="Arial Black" panose="020B0A04020102020204" pitchFamily="34" charset="0"/>
                </a:rPr>
                <a:t>UNCERTAINTY</a:t>
              </a:r>
            </a:p>
          </p:txBody>
        </p:sp>
        <p:sp>
          <p:nvSpPr>
            <p:cNvPr id="23" name="TextBox 22">
              <a:extLst>
                <a:ext uri="{FF2B5EF4-FFF2-40B4-BE49-F238E27FC236}">
                  <a16:creationId xmlns:a16="http://schemas.microsoft.com/office/drawing/2014/main" id="{F4562655-05C7-9373-0886-A82BADA5877F}"/>
                </a:ext>
              </a:extLst>
            </p:cNvPr>
            <p:cNvSpPr txBox="1"/>
            <p:nvPr/>
          </p:nvSpPr>
          <p:spPr>
            <a:xfrm>
              <a:off x="6376987" y="4836252"/>
              <a:ext cx="1311256" cy="246221"/>
            </a:xfrm>
            <a:prstGeom prst="rect">
              <a:avLst/>
            </a:prstGeom>
          </p:spPr>
          <p:txBody>
            <a:bodyPr wrap="none" lIns="0" tIns="0" rIns="0" bIns="0" rtlCol="0">
              <a:spAutoFit/>
            </a:bodyPr>
            <a:lstStyle/>
            <a:p>
              <a:pPr algn="l">
                <a:spcBef>
                  <a:spcPts val="0"/>
                </a:spcBef>
                <a:spcAft>
                  <a:spcPts val="1200"/>
                </a:spcAft>
              </a:pPr>
              <a:r>
                <a:rPr lang="en-US" sz="1600" dirty="0">
                  <a:latin typeface="Arial Black" panose="020B0A04020102020204" pitchFamily="34" charset="0"/>
                </a:rPr>
                <a:t>OBJECTIVE</a:t>
              </a:r>
            </a:p>
          </p:txBody>
        </p:sp>
        <p:grpSp>
          <p:nvGrpSpPr>
            <p:cNvPr id="33" name="Group 32">
              <a:extLst>
                <a:ext uri="{FF2B5EF4-FFF2-40B4-BE49-F238E27FC236}">
                  <a16:creationId xmlns:a16="http://schemas.microsoft.com/office/drawing/2014/main" id="{5B505A0D-F400-BDAF-FA55-BB71A2BF374D}"/>
                </a:ext>
              </a:extLst>
            </p:cNvPr>
            <p:cNvGrpSpPr/>
            <p:nvPr/>
          </p:nvGrpSpPr>
          <p:grpSpPr>
            <a:xfrm>
              <a:off x="3286125" y="2595972"/>
              <a:ext cx="3091029" cy="2486501"/>
              <a:chOff x="2057400" y="1543050"/>
              <a:chExt cx="5693610" cy="4222847"/>
            </a:xfrm>
          </p:grpSpPr>
          <p:pic>
            <p:nvPicPr>
              <p:cNvPr id="34" name="Picture 33">
                <a:extLst>
                  <a:ext uri="{FF2B5EF4-FFF2-40B4-BE49-F238E27FC236}">
                    <a16:creationId xmlns:a16="http://schemas.microsoft.com/office/drawing/2014/main" id="{8D0B1D1C-F6EF-2721-2956-FB86D982A904}"/>
                  </a:ext>
                </a:extLst>
              </p:cNvPr>
              <p:cNvPicPr>
                <a:picLocks noChangeAspect="1"/>
              </p:cNvPicPr>
              <p:nvPr/>
            </p:nvPicPr>
            <p:blipFill>
              <a:blip r:embed="rId7"/>
              <a:stretch>
                <a:fillRect/>
              </a:stretch>
            </p:blipFill>
            <p:spPr>
              <a:xfrm>
                <a:off x="2057400" y="1543050"/>
                <a:ext cx="5693610" cy="4222847"/>
              </a:xfrm>
              <a:prstGeom prst="rect">
                <a:avLst/>
              </a:prstGeom>
            </p:spPr>
          </p:pic>
          <p:pic>
            <p:nvPicPr>
              <p:cNvPr id="35" name="Picture 34">
                <a:extLst>
                  <a:ext uri="{FF2B5EF4-FFF2-40B4-BE49-F238E27FC236}">
                    <a16:creationId xmlns:a16="http://schemas.microsoft.com/office/drawing/2014/main" id="{FB0B62FF-5B8B-03D8-EA8D-4118B9A578AC}"/>
                  </a:ext>
                </a:extLst>
              </p:cNvPr>
              <p:cNvPicPr>
                <a:picLocks noChangeAspect="1"/>
              </p:cNvPicPr>
              <p:nvPr/>
            </p:nvPicPr>
            <p:blipFill>
              <a:blip r:embed="rId8"/>
              <a:stretch>
                <a:fillRect/>
              </a:stretch>
            </p:blipFill>
            <p:spPr>
              <a:xfrm>
                <a:off x="3166817" y="2852379"/>
                <a:ext cx="1241451" cy="912993"/>
              </a:xfrm>
              <a:prstGeom prst="rect">
                <a:avLst/>
              </a:prstGeom>
            </p:spPr>
          </p:pic>
          <p:pic>
            <p:nvPicPr>
              <p:cNvPr id="36" name="Picture 35">
                <a:extLst>
                  <a:ext uri="{FF2B5EF4-FFF2-40B4-BE49-F238E27FC236}">
                    <a16:creationId xmlns:a16="http://schemas.microsoft.com/office/drawing/2014/main" id="{B8EE302E-6FC7-BA49-484B-B839BA6E1816}"/>
                  </a:ext>
                </a:extLst>
              </p:cNvPr>
              <p:cNvPicPr>
                <a:picLocks noChangeAspect="1"/>
              </p:cNvPicPr>
              <p:nvPr/>
            </p:nvPicPr>
            <p:blipFill>
              <a:blip r:embed="rId9"/>
              <a:stretch>
                <a:fillRect/>
              </a:stretch>
            </p:blipFill>
            <p:spPr>
              <a:xfrm>
                <a:off x="3921721" y="4007673"/>
                <a:ext cx="1205305" cy="905655"/>
              </a:xfrm>
              <a:prstGeom prst="rect">
                <a:avLst/>
              </a:prstGeom>
            </p:spPr>
          </p:pic>
          <p:pic>
            <p:nvPicPr>
              <p:cNvPr id="37" name="Picture 36">
                <a:extLst>
                  <a:ext uri="{FF2B5EF4-FFF2-40B4-BE49-F238E27FC236}">
                    <a16:creationId xmlns:a16="http://schemas.microsoft.com/office/drawing/2014/main" id="{600DBD25-BA65-2A05-1BC1-1BBD95C320BF}"/>
                  </a:ext>
                </a:extLst>
              </p:cNvPr>
              <p:cNvPicPr>
                <a:picLocks noChangeAspect="1"/>
              </p:cNvPicPr>
              <p:nvPr/>
            </p:nvPicPr>
            <p:blipFill>
              <a:blip r:embed="rId10"/>
              <a:stretch>
                <a:fillRect/>
              </a:stretch>
            </p:blipFill>
            <p:spPr>
              <a:xfrm>
                <a:off x="4571999" y="2512368"/>
                <a:ext cx="1470955" cy="1016174"/>
              </a:xfrm>
              <a:prstGeom prst="rect">
                <a:avLst/>
              </a:prstGeom>
            </p:spPr>
          </p:pic>
          <p:pic>
            <p:nvPicPr>
              <p:cNvPr id="38" name="Picture 37">
                <a:extLst>
                  <a:ext uri="{FF2B5EF4-FFF2-40B4-BE49-F238E27FC236}">
                    <a16:creationId xmlns:a16="http://schemas.microsoft.com/office/drawing/2014/main" id="{C67977C3-0B40-4028-648D-34940B685B8D}"/>
                  </a:ext>
                </a:extLst>
              </p:cNvPr>
              <p:cNvPicPr>
                <a:picLocks noChangeAspect="1"/>
              </p:cNvPicPr>
              <p:nvPr/>
            </p:nvPicPr>
            <p:blipFill>
              <a:blip r:embed="rId11"/>
              <a:stretch>
                <a:fillRect/>
              </a:stretch>
            </p:blipFill>
            <p:spPr>
              <a:xfrm>
                <a:off x="5472459" y="3573119"/>
                <a:ext cx="1148217" cy="1048754"/>
              </a:xfrm>
              <a:prstGeom prst="rect">
                <a:avLst/>
              </a:prstGeom>
            </p:spPr>
          </p:pic>
        </p:grpSp>
      </p:grpSp>
      <p:pic>
        <p:nvPicPr>
          <p:cNvPr id="18" name="Picture 17" descr="A black and white logo&#10;&#10;Description automatically generated with medium confidence">
            <a:extLst>
              <a:ext uri="{FF2B5EF4-FFF2-40B4-BE49-F238E27FC236}">
                <a16:creationId xmlns:a16="http://schemas.microsoft.com/office/drawing/2014/main" id="{B9BC6139-6468-2D9C-B748-5D276CDF70D5}"/>
              </a:ext>
            </a:extLst>
          </p:cNvPr>
          <p:cNvPicPr>
            <a:picLocks noChangeAspect="1"/>
          </p:cNvPicPr>
          <p:nvPr/>
        </p:nvPicPr>
        <p:blipFill>
          <a:blip r:embed="rId12"/>
          <a:stretch>
            <a:fillRect/>
          </a:stretch>
        </p:blipFill>
        <p:spPr>
          <a:xfrm>
            <a:off x="7858310" y="223249"/>
            <a:ext cx="793565" cy="672659"/>
          </a:xfrm>
          <a:prstGeom prst="rect">
            <a:avLst/>
          </a:prstGeom>
        </p:spPr>
      </p:pic>
    </p:spTree>
    <p:extLst>
      <p:ext uri="{BB962C8B-B14F-4D97-AF65-F5344CB8AC3E}">
        <p14:creationId xmlns:p14="http://schemas.microsoft.com/office/powerpoint/2010/main" val="9944080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0480E1A-10CC-D30C-75D6-57ECAB853BC9}"/>
              </a:ext>
            </a:extLst>
          </p:cNvPr>
          <p:cNvGraphicFramePr>
            <a:graphicFrameLocks noChangeAspect="1"/>
          </p:cNvGraphicFramePr>
          <p:nvPr>
            <p:custDataLst>
              <p:tags r:id="rId1"/>
            </p:custDataLst>
            <p:extLst>
              <p:ext uri="{D42A27DB-BD31-4B8C-83A1-F6EECF244321}">
                <p14:modId xmlns:p14="http://schemas.microsoft.com/office/powerpoint/2010/main" val="2646940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5" imgH="257" progId="TCLayout.ActiveDocument.1">
                  <p:embed/>
                </p:oleObj>
              </mc:Choice>
              <mc:Fallback>
                <p:oleObj name="think-cell Slide" r:id="rId3" imgW="255" imgH="257" progId="TCLayout.ActiveDocument.1">
                  <p:embed/>
                  <p:pic>
                    <p:nvPicPr>
                      <p:cNvPr id="4" name="Object 3" hidden="1">
                        <a:extLst>
                          <a:ext uri="{FF2B5EF4-FFF2-40B4-BE49-F238E27FC236}">
                            <a16:creationId xmlns:a16="http://schemas.microsoft.com/office/drawing/2014/main" id="{20480E1A-10CC-D30C-75D6-57ECAB853B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30E030D2-E94D-F709-F0D4-0F16E19FA5DD}"/>
              </a:ext>
            </a:extLst>
          </p:cNvPr>
          <p:cNvSpPr>
            <a:spLocks noGrp="1"/>
          </p:cNvSpPr>
          <p:nvPr>
            <p:ph type="body" sz="quarter" idx="14"/>
          </p:nvPr>
        </p:nvSpPr>
        <p:spPr>
          <a:xfrm>
            <a:off x="419100" y="1453896"/>
            <a:ext cx="8305800" cy="614014"/>
          </a:xfrm>
        </p:spPr>
        <p:txBody>
          <a:bodyPr/>
          <a:lstStyle/>
          <a:p>
            <a:r>
              <a:rPr lang="en-US" dirty="0"/>
              <a:t>The measure that maintains and/or modifies risk. </a:t>
            </a:r>
          </a:p>
          <a:p>
            <a:r>
              <a:rPr lang="en-US" dirty="0"/>
              <a:t>Includes any process, procedure, policy, device or practice.</a:t>
            </a:r>
          </a:p>
        </p:txBody>
      </p:sp>
      <p:sp>
        <p:nvSpPr>
          <p:cNvPr id="3" name="Title 2">
            <a:extLst>
              <a:ext uri="{FF2B5EF4-FFF2-40B4-BE49-F238E27FC236}">
                <a16:creationId xmlns:a16="http://schemas.microsoft.com/office/drawing/2014/main" id="{0DC84A71-9386-9E28-2D65-0A588829E2A0}"/>
              </a:ext>
            </a:extLst>
          </p:cNvPr>
          <p:cNvSpPr>
            <a:spLocks noGrp="1"/>
          </p:cNvSpPr>
          <p:nvPr>
            <p:ph type="title"/>
          </p:nvPr>
        </p:nvSpPr>
        <p:spPr/>
        <p:txBody>
          <a:bodyPr vert="horz"/>
          <a:lstStyle/>
          <a:p>
            <a:r>
              <a:rPr lang="en-US" dirty="0"/>
              <a:t>Control / Mitigation Activity</a:t>
            </a:r>
          </a:p>
        </p:txBody>
      </p:sp>
      <p:sp>
        <p:nvSpPr>
          <p:cNvPr id="19" name="TextBox 18">
            <a:extLst>
              <a:ext uri="{FF2B5EF4-FFF2-40B4-BE49-F238E27FC236}">
                <a16:creationId xmlns:a16="http://schemas.microsoft.com/office/drawing/2014/main" id="{99E85603-51C5-24E4-8EB0-5F8A532F5284}"/>
              </a:ext>
            </a:extLst>
          </p:cNvPr>
          <p:cNvSpPr txBox="1"/>
          <p:nvPr/>
        </p:nvSpPr>
        <p:spPr>
          <a:xfrm>
            <a:off x="1481137" y="5765897"/>
            <a:ext cx="6181725" cy="671915"/>
          </a:xfrm>
          <a:prstGeom prst="rect">
            <a:avLst/>
          </a:prstGeom>
          <a:solidFill>
            <a:srgbClr val="0A498E"/>
          </a:solidFill>
        </p:spPr>
        <p:txBody>
          <a:bodyPr wrap="square">
            <a:spAutoFit/>
          </a:bodyPr>
          <a:lstStyle/>
          <a:p>
            <a:pPr marL="0" marR="0" indent="0" algn="ctr">
              <a:lnSpc>
                <a:spcPct val="107000"/>
              </a:lnSpc>
              <a:spcBef>
                <a:spcPts val="0"/>
              </a:spcBef>
              <a:spcAft>
                <a:spcPts val="800"/>
              </a:spcAft>
              <a:buNone/>
            </a:pPr>
            <a:r>
              <a:rPr lang="en-US" sz="18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WATCH THIS 2:00 CLIP ON WHAT IS A CONTROL? </a:t>
            </a:r>
            <a:r>
              <a:rPr lang="en-US" sz="1800" u="sng"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hlinkClick r:id="rId5">
                  <a:extLst>
                    <a:ext uri="{A12FA001-AC4F-418D-AE19-62706E023703}">
                      <ahyp:hlinkClr xmlns:ahyp="http://schemas.microsoft.com/office/drawing/2018/hyperlinkcolor" val="tx"/>
                    </a:ext>
                  </a:extLst>
                </a:hlinkClick>
              </a:rPr>
              <a:t>https://www.youtube.com/watch?v=_NKcH1XuDy4</a:t>
            </a:r>
            <a:endParaRPr lang="en-US" sz="1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34" name="Group 33">
            <a:extLst>
              <a:ext uri="{FF2B5EF4-FFF2-40B4-BE49-F238E27FC236}">
                <a16:creationId xmlns:a16="http://schemas.microsoft.com/office/drawing/2014/main" id="{EFB8382A-BAE7-7DC4-ED39-A33F66FCDE6A}"/>
              </a:ext>
            </a:extLst>
          </p:cNvPr>
          <p:cNvGrpSpPr/>
          <p:nvPr/>
        </p:nvGrpSpPr>
        <p:grpSpPr>
          <a:xfrm>
            <a:off x="867194" y="2541895"/>
            <a:ext cx="7554112" cy="2839817"/>
            <a:chOff x="713589" y="2550291"/>
            <a:chExt cx="7554112" cy="2839817"/>
          </a:xfrm>
        </p:grpSpPr>
        <p:pic>
          <p:nvPicPr>
            <p:cNvPr id="21" name="Picture 20">
              <a:extLst>
                <a:ext uri="{FF2B5EF4-FFF2-40B4-BE49-F238E27FC236}">
                  <a16:creationId xmlns:a16="http://schemas.microsoft.com/office/drawing/2014/main" id="{1E8D7D3D-0D8E-68F6-4C2B-C8CA57F89AA8}"/>
                </a:ext>
              </a:extLst>
            </p:cNvPr>
            <p:cNvPicPr>
              <a:picLocks noChangeAspect="1"/>
            </p:cNvPicPr>
            <p:nvPr/>
          </p:nvPicPr>
          <p:blipFill>
            <a:blip r:embed="rId6"/>
            <a:stretch>
              <a:fillRect/>
            </a:stretch>
          </p:blipFill>
          <p:spPr>
            <a:xfrm>
              <a:off x="2286000" y="2779026"/>
              <a:ext cx="5753100" cy="2381379"/>
            </a:xfrm>
            <a:prstGeom prst="rect">
              <a:avLst/>
            </a:prstGeom>
          </p:spPr>
        </p:pic>
        <p:pic>
          <p:nvPicPr>
            <p:cNvPr id="25" name="Picture 24">
              <a:extLst>
                <a:ext uri="{FF2B5EF4-FFF2-40B4-BE49-F238E27FC236}">
                  <a16:creationId xmlns:a16="http://schemas.microsoft.com/office/drawing/2014/main" id="{0DAFBAFB-F632-5082-1BC8-069B4BE24D94}"/>
                </a:ext>
              </a:extLst>
            </p:cNvPr>
            <p:cNvPicPr>
              <a:picLocks noChangeAspect="1"/>
            </p:cNvPicPr>
            <p:nvPr/>
          </p:nvPicPr>
          <p:blipFill>
            <a:blip r:embed="rId7"/>
            <a:stretch>
              <a:fillRect/>
            </a:stretch>
          </p:blipFill>
          <p:spPr>
            <a:xfrm>
              <a:off x="867194" y="3928424"/>
              <a:ext cx="1004049" cy="1175815"/>
            </a:xfrm>
            <a:prstGeom prst="rect">
              <a:avLst/>
            </a:prstGeom>
          </p:spPr>
        </p:pic>
        <p:pic>
          <p:nvPicPr>
            <p:cNvPr id="23" name="Picture 22">
              <a:extLst>
                <a:ext uri="{FF2B5EF4-FFF2-40B4-BE49-F238E27FC236}">
                  <a16:creationId xmlns:a16="http://schemas.microsoft.com/office/drawing/2014/main" id="{F71176FE-0C09-C264-C77C-D924478C1971}"/>
                </a:ext>
              </a:extLst>
            </p:cNvPr>
            <p:cNvPicPr>
              <a:picLocks noChangeAspect="1"/>
            </p:cNvPicPr>
            <p:nvPr/>
          </p:nvPicPr>
          <p:blipFill>
            <a:blip r:embed="rId8"/>
            <a:stretch>
              <a:fillRect/>
            </a:stretch>
          </p:blipFill>
          <p:spPr>
            <a:xfrm>
              <a:off x="757236" y="2720152"/>
              <a:ext cx="1223963" cy="1244856"/>
            </a:xfrm>
            <a:prstGeom prst="rect">
              <a:avLst/>
            </a:prstGeom>
          </p:spPr>
        </p:pic>
        <p:sp>
          <p:nvSpPr>
            <p:cNvPr id="28" name="TextBox 27">
              <a:extLst>
                <a:ext uri="{FF2B5EF4-FFF2-40B4-BE49-F238E27FC236}">
                  <a16:creationId xmlns:a16="http://schemas.microsoft.com/office/drawing/2014/main" id="{71553926-2C0B-7486-3AA2-A091D19C44FB}"/>
                </a:ext>
              </a:extLst>
            </p:cNvPr>
            <p:cNvSpPr txBox="1"/>
            <p:nvPr/>
          </p:nvSpPr>
          <p:spPr>
            <a:xfrm>
              <a:off x="5293810" y="2550291"/>
              <a:ext cx="1662635" cy="246221"/>
            </a:xfrm>
            <a:prstGeom prst="rect">
              <a:avLst/>
            </a:prstGeom>
            <a:solidFill>
              <a:schemeClr val="bg1"/>
            </a:solidFill>
          </p:spPr>
          <p:txBody>
            <a:bodyPr wrap="none" lIns="0" tIns="0" rIns="0" bIns="0" rtlCol="0">
              <a:spAutoFit/>
            </a:bodyPr>
            <a:lstStyle/>
            <a:p>
              <a:pPr algn="l">
                <a:spcBef>
                  <a:spcPts val="0"/>
                </a:spcBef>
                <a:spcAft>
                  <a:spcPts val="1200"/>
                </a:spcAft>
              </a:pPr>
              <a:r>
                <a:rPr lang="en-US" sz="1600" dirty="0">
                  <a:latin typeface="Arial Black" panose="020B0A04020102020204" pitchFamily="34" charset="0"/>
                </a:rPr>
                <a:t>UNCERTAINTY</a:t>
              </a:r>
            </a:p>
          </p:txBody>
        </p:sp>
        <p:sp>
          <p:nvSpPr>
            <p:cNvPr id="29" name="TextBox 28">
              <a:extLst>
                <a:ext uri="{FF2B5EF4-FFF2-40B4-BE49-F238E27FC236}">
                  <a16:creationId xmlns:a16="http://schemas.microsoft.com/office/drawing/2014/main" id="{BC9349A7-1615-511D-4541-B88DCD1632E4}"/>
                </a:ext>
              </a:extLst>
            </p:cNvPr>
            <p:cNvSpPr txBox="1"/>
            <p:nvPr/>
          </p:nvSpPr>
          <p:spPr>
            <a:xfrm>
              <a:off x="6956445" y="5143887"/>
              <a:ext cx="1311256" cy="246221"/>
            </a:xfrm>
            <a:prstGeom prst="rect">
              <a:avLst/>
            </a:prstGeom>
            <a:solidFill>
              <a:schemeClr val="bg1"/>
            </a:solidFill>
          </p:spPr>
          <p:txBody>
            <a:bodyPr wrap="none" lIns="0" tIns="0" rIns="0" bIns="0" rtlCol="0">
              <a:spAutoFit/>
            </a:bodyPr>
            <a:lstStyle/>
            <a:p>
              <a:pPr algn="l">
                <a:spcBef>
                  <a:spcPts val="0"/>
                </a:spcBef>
                <a:spcAft>
                  <a:spcPts val="1200"/>
                </a:spcAft>
              </a:pPr>
              <a:r>
                <a:rPr lang="en-US" sz="1600" dirty="0">
                  <a:latin typeface="Arial Black" panose="020B0A04020102020204" pitchFamily="34" charset="0"/>
                </a:rPr>
                <a:t>OBJECTIVE</a:t>
              </a:r>
            </a:p>
          </p:txBody>
        </p:sp>
        <p:sp>
          <p:nvSpPr>
            <p:cNvPr id="30" name="TextBox 29">
              <a:extLst>
                <a:ext uri="{FF2B5EF4-FFF2-40B4-BE49-F238E27FC236}">
                  <a16:creationId xmlns:a16="http://schemas.microsoft.com/office/drawing/2014/main" id="{EF965F94-5D0E-98F7-A50E-F33166E51D4F}"/>
                </a:ext>
              </a:extLst>
            </p:cNvPr>
            <p:cNvSpPr txBox="1"/>
            <p:nvPr/>
          </p:nvSpPr>
          <p:spPr>
            <a:xfrm>
              <a:off x="713589" y="5135491"/>
              <a:ext cx="1262846" cy="246221"/>
            </a:xfrm>
            <a:prstGeom prst="rect">
              <a:avLst/>
            </a:prstGeom>
            <a:solidFill>
              <a:schemeClr val="bg1"/>
            </a:solidFill>
          </p:spPr>
          <p:txBody>
            <a:bodyPr wrap="none" lIns="0" tIns="0" rIns="0" bIns="0" rtlCol="0">
              <a:spAutoFit/>
            </a:bodyPr>
            <a:lstStyle/>
            <a:p>
              <a:pPr algn="l">
                <a:spcBef>
                  <a:spcPts val="0"/>
                </a:spcBef>
                <a:spcAft>
                  <a:spcPts val="1200"/>
                </a:spcAft>
              </a:pPr>
              <a:r>
                <a:rPr lang="en-US" sz="1600" dirty="0">
                  <a:latin typeface="Arial Black" panose="020B0A04020102020204" pitchFamily="34" charset="0"/>
                </a:rPr>
                <a:t>CONTROLS</a:t>
              </a:r>
            </a:p>
          </p:txBody>
        </p:sp>
        <p:sp>
          <p:nvSpPr>
            <p:cNvPr id="32" name="Rectangle 31">
              <a:extLst>
                <a:ext uri="{FF2B5EF4-FFF2-40B4-BE49-F238E27FC236}">
                  <a16:creationId xmlns:a16="http://schemas.microsoft.com/office/drawing/2014/main" id="{1786BD7A-88EA-B444-5FF2-E4210A60E3A3}"/>
                </a:ext>
              </a:extLst>
            </p:cNvPr>
            <p:cNvSpPr/>
            <p:nvPr/>
          </p:nvSpPr>
          <p:spPr>
            <a:xfrm>
              <a:off x="5591175" y="4895850"/>
              <a:ext cx="866775" cy="208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1E593A3E-1D9C-5925-7D4D-5647BED5FE7F}"/>
                </a:ext>
              </a:extLst>
            </p:cNvPr>
            <p:cNvSpPr/>
            <p:nvPr/>
          </p:nvSpPr>
          <p:spPr>
            <a:xfrm>
              <a:off x="7178685" y="2807553"/>
              <a:ext cx="866775" cy="208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5" name="Picture 14" descr="A black and white logo&#10;&#10;Description automatically generated with medium confidence">
            <a:extLst>
              <a:ext uri="{FF2B5EF4-FFF2-40B4-BE49-F238E27FC236}">
                <a16:creationId xmlns:a16="http://schemas.microsoft.com/office/drawing/2014/main" id="{2D6C21EC-7D6D-2450-8A9A-D619F2A419C0}"/>
              </a:ext>
            </a:extLst>
          </p:cNvPr>
          <p:cNvPicPr>
            <a:picLocks noChangeAspect="1"/>
          </p:cNvPicPr>
          <p:nvPr/>
        </p:nvPicPr>
        <p:blipFill>
          <a:blip r:embed="rId9"/>
          <a:stretch>
            <a:fillRect/>
          </a:stretch>
        </p:blipFill>
        <p:spPr>
          <a:xfrm>
            <a:off x="7858310" y="223249"/>
            <a:ext cx="793565" cy="672659"/>
          </a:xfrm>
          <a:prstGeom prst="rect">
            <a:avLst/>
          </a:prstGeom>
        </p:spPr>
      </p:pic>
    </p:spTree>
    <p:extLst>
      <p:ext uri="{BB962C8B-B14F-4D97-AF65-F5344CB8AC3E}">
        <p14:creationId xmlns:p14="http://schemas.microsoft.com/office/powerpoint/2010/main" val="31166631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A385B6-4AB8-636C-0143-DD77C95BA75E}"/>
              </a:ext>
            </a:extLst>
          </p:cNvPr>
          <p:cNvGraphicFramePr>
            <a:graphicFrameLocks noChangeAspect="1"/>
          </p:cNvGraphicFramePr>
          <p:nvPr>
            <p:custDataLst>
              <p:tags r:id="rId1"/>
            </p:custDataLst>
            <p:extLst>
              <p:ext uri="{D42A27DB-BD31-4B8C-83A1-F6EECF244321}">
                <p14:modId xmlns:p14="http://schemas.microsoft.com/office/powerpoint/2010/main" val="3206705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5" imgH="257" progId="TCLayout.ActiveDocument.1">
                  <p:embed/>
                </p:oleObj>
              </mc:Choice>
              <mc:Fallback>
                <p:oleObj name="think-cell Slide" r:id="rId3" imgW="255" imgH="257" progId="TCLayout.ActiveDocument.1">
                  <p:embed/>
                  <p:pic>
                    <p:nvPicPr>
                      <p:cNvPr id="5" name="Object 4" hidden="1">
                        <a:extLst>
                          <a:ext uri="{FF2B5EF4-FFF2-40B4-BE49-F238E27FC236}">
                            <a16:creationId xmlns:a16="http://schemas.microsoft.com/office/drawing/2014/main" id="{3FA385B6-4AB8-636C-0143-DD77C95BA7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005668A-BA81-DFE9-1D7B-5AC98559DBE4}"/>
              </a:ext>
            </a:extLst>
          </p:cNvPr>
          <p:cNvSpPr>
            <a:spLocks noGrp="1"/>
          </p:cNvSpPr>
          <p:nvPr>
            <p:ph type="body" sz="quarter" idx="14"/>
          </p:nvPr>
        </p:nvSpPr>
        <p:spPr>
          <a:xfrm>
            <a:off x="419100" y="1453896"/>
            <a:ext cx="8305800" cy="2954655"/>
          </a:xfrm>
        </p:spPr>
        <p:txBody>
          <a:bodyPr/>
          <a:lstStyle/>
          <a:p>
            <a:r>
              <a:rPr lang="en-US" dirty="0"/>
              <a:t>Critical predictors of [the risk materializing] unfavorable events that can adversely impact organizations that allow us to monitor changes in the levels of risk exposure and provide early warning signs that put us in the best position to timely mitigate risk.</a:t>
            </a:r>
          </a:p>
          <a:p>
            <a:r>
              <a:rPr lang="en-US" dirty="0"/>
              <a:t>Activities or outcomes that signal a particular risk event is becoming more or less likely and may also indicate that a risk event has already occurred and provide a sense of its impact or severity.</a:t>
            </a:r>
          </a:p>
          <a:p>
            <a:r>
              <a:rPr lang="en-US" dirty="0"/>
              <a:t>Measurement may be quantitative (usually) or qualitative and must be SMART.</a:t>
            </a:r>
          </a:p>
          <a:p>
            <a:endParaRPr lang="en-US" dirty="0"/>
          </a:p>
          <a:p>
            <a:endParaRPr lang="en-US" dirty="0"/>
          </a:p>
        </p:txBody>
      </p:sp>
      <p:sp>
        <p:nvSpPr>
          <p:cNvPr id="3" name="Title 2">
            <a:extLst>
              <a:ext uri="{FF2B5EF4-FFF2-40B4-BE49-F238E27FC236}">
                <a16:creationId xmlns:a16="http://schemas.microsoft.com/office/drawing/2014/main" id="{9CE48552-DE61-69CA-3E83-F686DBC7D323}"/>
              </a:ext>
            </a:extLst>
          </p:cNvPr>
          <p:cNvSpPr>
            <a:spLocks noGrp="1"/>
          </p:cNvSpPr>
          <p:nvPr>
            <p:ph type="title"/>
          </p:nvPr>
        </p:nvSpPr>
        <p:spPr/>
        <p:txBody>
          <a:bodyPr vert="horz"/>
          <a:lstStyle/>
          <a:p>
            <a:r>
              <a:rPr lang="en-US" dirty="0"/>
              <a:t>Monitoring Activity / Key Risk Indicator (KRI)</a:t>
            </a:r>
          </a:p>
        </p:txBody>
      </p:sp>
      <p:grpSp>
        <p:nvGrpSpPr>
          <p:cNvPr id="11" name="Group 10">
            <a:extLst>
              <a:ext uri="{FF2B5EF4-FFF2-40B4-BE49-F238E27FC236}">
                <a16:creationId xmlns:a16="http://schemas.microsoft.com/office/drawing/2014/main" id="{695D82EE-71AA-1DFE-64BE-0FA229FA0608}"/>
              </a:ext>
            </a:extLst>
          </p:cNvPr>
          <p:cNvGrpSpPr/>
          <p:nvPr/>
        </p:nvGrpSpPr>
        <p:grpSpPr>
          <a:xfrm>
            <a:off x="2335860" y="3790950"/>
            <a:ext cx="4472280" cy="2836577"/>
            <a:chOff x="1318726" y="2386356"/>
            <a:chExt cx="6096000" cy="4086245"/>
          </a:xfrm>
        </p:grpSpPr>
        <p:graphicFrame>
          <p:nvGraphicFramePr>
            <p:cNvPr id="12" name="Diagram 11">
              <a:extLst>
                <a:ext uri="{FF2B5EF4-FFF2-40B4-BE49-F238E27FC236}">
                  <a16:creationId xmlns:a16="http://schemas.microsoft.com/office/drawing/2014/main" id="{A3B75B73-D022-9A65-9DC6-E38B1FD9E0E2}"/>
                </a:ext>
              </a:extLst>
            </p:cNvPr>
            <p:cNvGraphicFramePr/>
            <p:nvPr>
              <p:extLst>
                <p:ext uri="{D42A27DB-BD31-4B8C-83A1-F6EECF244321}">
                  <p14:modId xmlns:p14="http://schemas.microsoft.com/office/powerpoint/2010/main" val="3968765144"/>
                </p:ext>
              </p:extLst>
            </p:nvPr>
          </p:nvGraphicFramePr>
          <p:xfrm>
            <a:off x="1318726" y="2386356"/>
            <a:ext cx="6096000" cy="40640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3" name="Oval 12">
              <a:extLst>
                <a:ext uri="{FF2B5EF4-FFF2-40B4-BE49-F238E27FC236}">
                  <a16:creationId xmlns:a16="http://schemas.microsoft.com/office/drawing/2014/main" id="{C5A68EEA-4C5E-B484-CFA0-0654805A1D8E}"/>
                </a:ext>
              </a:extLst>
            </p:cNvPr>
            <p:cNvSpPr/>
            <p:nvPr/>
          </p:nvSpPr>
          <p:spPr>
            <a:xfrm>
              <a:off x="2174095" y="2386356"/>
              <a:ext cx="665541" cy="678853"/>
            </a:xfrm>
            <a:prstGeom prst="ellipse">
              <a:avLst/>
            </a:prstGeom>
            <a:solidFill>
              <a:srgbClr val="BFBFB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0A498E"/>
                  </a:solidFill>
                </a:rPr>
                <a:t>S</a:t>
              </a:r>
            </a:p>
          </p:txBody>
        </p:sp>
        <p:sp>
          <p:nvSpPr>
            <p:cNvPr id="14" name="Oval 13">
              <a:extLst>
                <a:ext uri="{FF2B5EF4-FFF2-40B4-BE49-F238E27FC236}">
                  <a16:creationId xmlns:a16="http://schemas.microsoft.com/office/drawing/2014/main" id="{0C918196-7138-211E-FC47-4EE21BFE69D0}"/>
                </a:ext>
              </a:extLst>
            </p:cNvPr>
            <p:cNvSpPr/>
            <p:nvPr/>
          </p:nvSpPr>
          <p:spPr>
            <a:xfrm>
              <a:off x="2167894" y="3225487"/>
              <a:ext cx="665541" cy="678853"/>
            </a:xfrm>
            <a:prstGeom prst="ellipse">
              <a:avLst/>
            </a:prstGeom>
            <a:solidFill>
              <a:srgbClr val="BFBFB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0A498E"/>
                  </a:solidFill>
                </a:rPr>
                <a:t>M</a:t>
              </a:r>
            </a:p>
          </p:txBody>
        </p:sp>
        <p:sp>
          <p:nvSpPr>
            <p:cNvPr id="15" name="Oval 14">
              <a:extLst>
                <a:ext uri="{FF2B5EF4-FFF2-40B4-BE49-F238E27FC236}">
                  <a16:creationId xmlns:a16="http://schemas.microsoft.com/office/drawing/2014/main" id="{C45B0EFD-D004-6CE9-E98B-A07CD38B9906}"/>
                </a:ext>
              </a:extLst>
            </p:cNvPr>
            <p:cNvSpPr/>
            <p:nvPr/>
          </p:nvSpPr>
          <p:spPr>
            <a:xfrm>
              <a:off x="2167893" y="4078929"/>
              <a:ext cx="665541" cy="678853"/>
            </a:xfrm>
            <a:prstGeom prst="ellipse">
              <a:avLst/>
            </a:prstGeom>
            <a:solidFill>
              <a:srgbClr val="BFBFB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0A498E"/>
                  </a:solidFill>
                </a:rPr>
                <a:t>A</a:t>
              </a:r>
            </a:p>
          </p:txBody>
        </p:sp>
        <p:sp>
          <p:nvSpPr>
            <p:cNvPr id="16" name="Oval 15">
              <a:extLst>
                <a:ext uri="{FF2B5EF4-FFF2-40B4-BE49-F238E27FC236}">
                  <a16:creationId xmlns:a16="http://schemas.microsoft.com/office/drawing/2014/main" id="{8094D01E-1FB4-AF29-9F99-3113439E8718}"/>
                </a:ext>
              </a:extLst>
            </p:cNvPr>
            <p:cNvSpPr/>
            <p:nvPr/>
          </p:nvSpPr>
          <p:spPr>
            <a:xfrm>
              <a:off x="2167892" y="4925215"/>
              <a:ext cx="665541" cy="678853"/>
            </a:xfrm>
            <a:prstGeom prst="ellipse">
              <a:avLst/>
            </a:prstGeom>
            <a:solidFill>
              <a:srgbClr val="BFBFB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0A498E"/>
                  </a:solidFill>
                </a:rPr>
                <a:t>R</a:t>
              </a:r>
            </a:p>
          </p:txBody>
        </p:sp>
        <p:sp>
          <p:nvSpPr>
            <p:cNvPr id="17" name="Oval 16">
              <a:extLst>
                <a:ext uri="{FF2B5EF4-FFF2-40B4-BE49-F238E27FC236}">
                  <a16:creationId xmlns:a16="http://schemas.microsoft.com/office/drawing/2014/main" id="{71C6C6AA-3E57-1B4E-557B-F1BFA35937BD}"/>
                </a:ext>
              </a:extLst>
            </p:cNvPr>
            <p:cNvSpPr/>
            <p:nvPr/>
          </p:nvSpPr>
          <p:spPr>
            <a:xfrm>
              <a:off x="2167891" y="5793748"/>
              <a:ext cx="665541" cy="678853"/>
            </a:xfrm>
            <a:prstGeom prst="ellipse">
              <a:avLst/>
            </a:prstGeom>
            <a:solidFill>
              <a:srgbClr val="BFBFB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0A498E"/>
                  </a:solidFill>
                </a:rPr>
                <a:t>T</a:t>
              </a:r>
            </a:p>
          </p:txBody>
        </p:sp>
      </p:grpSp>
      <p:pic>
        <p:nvPicPr>
          <p:cNvPr id="18" name="Picture 17" descr="A black and white logo&#10;&#10;Description automatically generated with medium confidence">
            <a:extLst>
              <a:ext uri="{FF2B5EF4-FFF2-40B4-BE49-F238E27FC236}">
                <a16:creationId xmlns:a16="http://schemas.microsoft.com/office/drawing/2014/main" id="{42D31F66-E42D-7254-EFF7-779AB7D0A76E}"/>
              </a:ext>
            </a:extLst>
          </p:cNvPr>
          <p:cNvPicPr>
            <a:picLocks noChangeAspect="1"/>
          </p:cNvPicPr>
          <p:nvPr/>
        </p:nvPicPr>
        <p:blipFill>
          <a:blip r:embed="rId10"/>
          <a:stretch>
            <a:fillRect/>
          </a:stretch>
        </p:blipFill>
        <p:spPr>
          <a:xfrm>
            <a:off x="7858310" y="223249"/>
            <a:ext cx="793565" cy="672659"/>
          </a:xfrm>
          <a:prstGeom prst="rect">
            <a:avLst/>
          </a:prstGeom>
        </p:spPr>
      </p:pic>
    </p:spTree>
    <p:extLst>
      <p:ext uri="{BB962C8B-B14F-4D97-AF65-F5344CB8AC3E}">
        <p14:creationId xmlns:p14="http://schemas.microsoft.com/office/powerpoint/2010/main" val="19069828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2422215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5" imgH="257" progId="TCLayout.ActiveDocument.1">
                  <p:embed/>
                </p:oleObj>
              </mc:Choice>
              <mc:Fallback>
                <p:oleObj name="think-cell Slide" r:id="rId3" imgW="255" imgH="257"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14"/>
          </p:nvPr>
        </p:nvSpPr>
        <p:spPr>
          <a:xfrm>
            <a:off x="419100" y="1220631"/>
            <a:ext cx="8305800" cy="1112612"/>
          </a:xfrm>
        </p:spPr>
        <p:txBody>
          <a:bodyPr/>
          <a:lstStyle/>
          <a:p>
            <a:r>
              <a:rPr lang="en-US" dirty="0"/>
              <a:t>Acceptable range or level of performance with respect to a risk.</a:t>
            </a:r>
          </a:p>
          <a:p>
            <a:r>
              <a:rPr lang="en-US" dirty="0"/>
              <a:t>If performance falls outside preset risk thresholds, risk owners must decide whether they need to change the strategy, modify the control / mitigation activities or reevaluate the tolerance range.</a:t>
            </a:r>
          </a:p>
        </p:txBody>
      </p:sp>
      <p:sp>
        <p:nvSpPr>
          <p:cNvPr id="4" name="Title 3"/>
          <p:cNvSpPr>
            <a:spLocks noGrp="1"/>
          </p:cNvSpPr>
          <p:nvPr>
            <p:ph type="title"/>
          </p:nvPr>
        </p:nvSpPr>
        <p:spPr/>
        <p:txBody>
          <a:bodyPr vert="horz"/>
          <a:lstStyle/>
          <a:p>
            <a:r>
              <a:rPr lang="en-US" dirty="0"/>
              <a:t>Tolerance Level</a:t>
            </a:r>
          </a:p>
        </p:txBody>
      </p:sp>
      <p:pic>
        <p:nvPicPr>
          <p:cNvPr id="16" name="Picture 15"/>
          <p:cNvPicPr>
            <a:picLocks noChangeAspect="1"/>
          </p:cNvPicPr>
          <p:nvPr/>
        </p:nvPicPr>
        <p:blipFill>
          <a:blip r:embed="rId5"/>
          <a:stretch>
            <a:fillRect/>
          </a:stretch>
        </p:blipFill>
        <p:spPr>
          <a:xfrm>
            <a:off x="1543076" y="3000369"/>
            <a:ext cx="6233714" cy="3596373"/>
          </a:xfrm>
          <a:prstGeom prst="rect">
            <a:avLst/>
          </a:prstGeom>
        </p:spPr>
      </p:pic>
      <p:pic>
        <p:nvPicPr>
          <p:cNvPr id="7" name="Picture 6" descr="A black and white logo&#10;&#10;Description automatically generated with medium confidence">
            <a:extLst>
              <a:ext uri="{FF2B5EF4-FFF2-40B4-BE49-F238E27FC236}">
                <a16:creationId xmlns:a16="http://schemas.microsoft.com/office/drawing/2014/main" id="{E4019C47-17E2-10F2-DCF5-ACDAEDAF9CA7}"/>
              </a:ext>
            </a:extLst>
          </p:cNvPr>
          <p:cNvPicPr>
            <a:picLocks noChangeAspect="1"/>
          </p:cNvPicPr>
          <p:nvPr/>
        </p:nvPicPr>
        <p:blipFill>
          <a:blip r:embed="rId6"/>
          <a:stretch>
            <a:fillRect/>
          </a:stretch>
        </p:blipFill>
        <p:spPr>
          <a:xfrm>
            <a:off x="7858310" y="223249"/>
            <a:ext cx="793565" cy="672659"/>
          </a:xfrm>
          <a:prstGeom prst="rect">
            <a:avLst/>
          </a:prstGeom>
        </p:spPr>
      </p:pic>
    </p:spTree>
    <p:extLst>
      <p:ext uri="{BB962C8B-B14F-4D97-AF65-F5344CB8AC3E}">
        <p14:creationId xmlns:p14="http://schemas.microsoft.com/office/powerpoint/2010/main" val="27041139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D0B5624-7117-9447-C7CA-CC83F4D1F9ED}"/>
              </a:ext>
            </a:extLst>
          </p:cNvPr>
          <p:cNvGraphicFramePr>
            <a:graphicFrameLocks noChangeAspect="1"/>
          </p:cNvGraphicFramePr>
          <p:nvPr>
            <p:custDataLst>
              <p:tags r:id="rId1"/>
            </p:custDataLst>
            <p:extLst>
              <p:ext uri="{D42A27DB-BD31-4B8C-83A1-F6EECF244321}">
                <p14:modId xmlns:p14="http://schemas.microsoft.com/office/powerpoint/2010/main" val="1835239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5" imgH="257" progId="TCLayout.ActiveDocument.1">
                  <p:embed/>
                </p:oleObj>
              </mc:Choice>
              <mc:Fallback>
                <p:oleObj name="think-cell Slide" r:id="rId3" imgW="255" imgH="257" progId="TCLayout.ActiveDocument.1">
                  <p:embed/>
                  <p:pic>
                    <p:nvPicPr>
                      <p:cNvPr id="7" name="Object 6" hidden="1">
                        <a:extLst>
                          <a:ext uri="{FF2B5EF4-FFF2-40B4-BE49-F238E27FC236}">
                            <a16:creationId xmlns:a16="http://schemas.microsoft.com/office/drawing/2014/main" id="{3D0B5624-7117-9447-C7CA-CC83F4D1F9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D13B9F5-F812-9B3C-2C33-EA2E5085ED64}"/>
              </a:ext>
            </a:extLst>
          </p:cNvPr>
          <p:cNvSpPr>
            <a:spLocks noGrp="1"/>
          </p:cNvSpPr>
          <p:nvPr>
            <p:ph type="title"/>
          </p:nvPr>
        </p:nvSpPr>
        <p:spPr/>
        <p:txBody>
          <a:bodyPr vert="horz"/>
          <a:lstStyle/>
          <a:p>
            <a:r>
              <a:rPr lang="en-US" dirty="0"/>
              <a:t>Tolerance Level (Continued)</a:t>
            </a:r>
          </a:p>
        </p:txBody>
      </p:sp>
      <p:pic>
        <p:nvPicPr>
          <p:cNvPr id="5" name="Picture 4">
            <a:extLst>
              <a:ext uri="{FF2B5EF4-FFF2-40B4-BE49-F238E27FC236}">
                <a16:creationId xmlns:a16="http://schemas.microsoft.com/office/drawing/2014/main" id="{5164DBF1-0A52-467C-8C7A-6FE8B68C6043}"/>
              </a:ext>
            </a:extLst>
          </p:cNvPr>
          <p:cNvPicPr>
            <a:picLocks noChangeAspect="1"/>
          </p:cNvPicPr>
          <p:nvPr/>
        </p:nvPicPr>
        <p:blipFill>
          <a:blip r:embed="rId5"/>
          <a:stretch>
            <a:fillRect/>
          </a:stretch>
        </p:blipFill>
        <p:spPr>
          <a:xfrm>
            <a:off x="849797" y="1193685"/>
            <a:ext cx="7444406" cy="5104736"/>
          </a:xfrm>
          <a:prstGeom prst="rect">
            <a:avLst/>
          </a:prstGeom>
        </p:spPr>
      </p:pic>
      <p:pic>
        <p:nvPicPr>
          <p:cNvPr id="6" name="Picture 5" descr="A black and white logo&#10;&#10;Description automatically generated with medium confidence">
            <a:extLst>
              <a:ext uri="{FF2B5EF4-FFF2-40B4-BE49-F238E27FC236}">
                <a16:creationId xmlns:a16="http://schemas.microsoft.com/office/drawing/2014/main" id="{A2EFF592-83ED-BF98-1260-FFB544D6FBB5}"/>
              </a:ext>
            </a:extLst>
          </p:cNvPr>
          <p:cNvPicPr>
            <a:picLocks noChangeAspect="1"/>
          </p:cNvPicPr>
          <p:nvPr/>
        </p:nvPicPr>
        <p:blipFill>
          <a:blip r:embed="rId6"/>
          <a:stretch>
            <a:fillRect/>
          </a:stretch>
        </p:blipFill>
        <p:spPr>
          <a:xfrm>
            <a:off x="7858310" y="223249"/>
            <a:ext cx="793565" cy="672659"/>
          </a:xfrm>
          <a:prstGeom prst="rect">
            <a:avLst/>
          </a:prstGeom>
        </p:spPr>
      </p:pic>
    </p:spTree>
    <p:extLst>
      <p:ext uri="{BB962C8B-B14F-4D97-AF65-F5344CB8AC3E}">
        <p14:creationId xmlns:p14="http://schemas.microsoft.com/office/powerpoint/2010/main" val="17471745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91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
  <a:themeElements>
    <a:clrScheme name="Custom 5">
      <a:dk1>
        <a:srgbClr val="404040"/>
      </a:dk1>
      <a:lt1>
        <a:srgbClr val="FFFFFF"/>
      </a:lt1>
      <a:dk2>
        <a:srgbClr val="404040"/>
      </a:dk2>
      <a:lt2>
        <a:srgbClr val="E7E6E6"/>
      </a:lt2>
      <a:accent1>
        <a:srgbClr val="0A498E"/>
      </a:accent1>
      <a:accent2>
        <a:srgbClr val="808383"/>
      </a:accent2>
      <a:accent3>
        <a:srgbClr val="F9BD0F"/>
      </a:accent3>
      <a:accent4>
        <a:srgbClr val="408ABB"/>
      </a:accent4>
      <a:accent5>
        <a:srgbClr val="54B046"/>
      </a:accent5>
      <a:accent6>
        <a:srgbClr val="F9C940"/>
      </a:accent6>
      <a:hlink>
        <a:srgbClr val="0A498E"/>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lstStyle>
        <a:defPPr marL="176213" indent="-176213" algn="l">
          <a:spcBef>
            <a:spcPts val="0"/>
          </a:spcBef>
          <a:spcAft>
            <a:spcPts val="1200"/>
          </a:spcAft>
          <a:buFont typeface="Arial" panose="020B0604020202020204" pitchFamily="34" charset="0"/>
          <a:buChar char="•"/>
          <a:defRPr dirty="0"/>
        </a:defPPr>
      </a:lstStyle>
    </a:txDef>
  </a:objectDefaults>
  <a:extraClrSchemeLst/>
  <a:extLst>
    <a:ext uri="{05A4C25C-085E-4340-85A3-A5531E510DB2}">
      <thm15:themeFamily xmlns:thm15="http://schemas.microsoft.com/office/thememl/2012/main" name="Brinks_Template_Guide_6 27 18-1.potx [Read-Only]" id="{B10FB2C5-CD1A-43BB-A0BA-16D436C500B4}" vid="{DDB994D6-CAA0-4089-9689-0C1782AD9F0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Release_x0020_Date xmlns="d72f38c8-9d45-418d-92dd-8a67773138de" xsi:nil="true"/>
    <lcf76f155ced4ddcb4097134ff3c332f xmlns="d72f38c8-9d45-418d-92dd-8a67773138de">
      <Terms xmlns="http://schemas.microsoft.com/office/infopath/2007/PartnerControls"/>
    </lcf76f155ced4ddcb4097134ff3c332f>
    <TaxCatchAll xmlns="5b5f3cac-30e6-4343-8ff9-ef13b9759b0a"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F0DCEEBC8A1F241BEE6AB5FEF9836C7" ma:contentTypeVersion="18" ma:contentTypeDescription="Create a new document." ma:contentTypeScope="" ma:versionID="bb51058cc931070139ceca7d9fb1e1bc">
  <xsd:schema xmlns:xsd="http://www.w3.org/2001/XMLSchema" xmlns:xs="http://www.w3.org/2001/XMLSchema" xmlns:p="http://schemas.microsoft.com/office/2006/metadata/properties" xmlns:ns2="5b5f3cac-30e6-4343-8ff9-ef13b9759b0a" xmlns:ns3="d72f38c8-9d45-418d-92dd-8a67773138de" targetNamespace="http://schemas.microsoft.com/office/2006/metadata/properties" ma:root="true" ma:fieldsID="0b22b71d864467fe407d48288687598e" ns2:_="" ns3:_="">
    <xsd:import namespace="5b5f3cac-30e6-4343-8ff9-ef13b9759b0a"/>
    <xsd:import namespace="d72f38c8-9d45-418d-92dd-8a67773138de"/>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ServiceOCR" minOccurs="0"/>
                <xsd:element ref="ns3:MediaServiceLocation" minOccurs="0"/>
                <xsd:element ref="ns3:MediaLengthInSeconds" minOccurs="0"/>
                <xsd:element ref="ns3:Release_x0020_Date" minOccurs="0"/>
                <xsd:element ref="ns3:lcf76f155ced4ddcb4097134ff3c332f" minOccurs="0"/>
                <xsd:element ref="ns2: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b5f3cac-30e6-4343-8ff9-ef13b9759b0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376ea513-1ac3-4c98-9e26-5fe8941e6d4d}" ma:internalName="TaxCatchAll" ma:showField="CatchAllData" ma:web="5b5f3cac-30e6-4343-8ff9-ef13b9759b0a">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d72f38c8-9d45-418d-92dd-8a67773138de"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Release_x0020_Date" ma:index="21" nillable="true" ma:displayName="Release Date" ma:format="DateOnly" ma:indexed="true" ma:internalName="Release_x0020_Date">
      <xsd:simpleType>
        <xsd:restriction base="dms:DateTime"/>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21c61f09-4858-426a-8156-939e56be748c"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700B431-1262-4B17-B1EA-56AD53EF294F}">
  <ds:schemaRefs>
    <ds:schemaRef ds:uri="http://schemas.microsoft.com/office/2006/documentManagement/types"/>
    <ds:schemaRef ds:uri="http://schemas.microsoft.com/office/infopath/2007/PartnerControls"/>
    <ds:schemaRef ds:uri="c340c4a5-dba4-40f7-acc2-5e803ef0fd14"/>
    <ds:schemaRef ds:uri="http://www.w3.org/XML/1998/namespace"/>
    <ds:schemaRef ds:uri="http://purl.org/dc/dcmitype/"/>
    <ds:schemaRef ds:uri="http://purl.org/dc/terms/"/>
    <ds:schemaRef ds:uri="http://purl.org/dc/elements/1.1/"/>
    <ds:schemaRef ds:uri="http://schemas.openxmlformats.org/package/2006/metadata/core-properties"/>
    <ds:schemaRef ds:uri="http://schemas.microsoft.com/office/2006/metadata/properties"/>
    <ds:schemaRef ds:uri="d72f38c8-9d45-418d-92dd-8a67773138de"/>
    <ds:schemaRef ds:uri="5b5f3cac-30e6-4343-8ff9-ef13b9759b0a"/>
  </ds:schemaRefs>
</ds:datastoreItem>
</file>

<file path=customXml/itemProps2.xml><?xml version="1.0" encoding="utf-8"?>
<ds:datastoreItem xmlns:ds="http://schemas.openxmlformats.org/officeDocument/2006/customXml" ds:itemID="{AE549D14-0E87-4C87-88D7-F017DA595966}">
  <ds:schemaRefs>
    <ds:schemaRef ds:uri="http://schemas.microsoft.com/sharepoint/v3/contenttype/forms"/>
  </ds:schemaRefs>
</ds:datastoreItem>
</file>

<file path=customXml/itemProps3.xml><?xml version="1.0" encoding="utf-8"?>
<ds:datastoreItem xmlns:ds="http://schemas.openxmlformats.org/officeDocument/2006/customXml" ds:itemID="{329118B8-8B40-4DEC-8CE2-B55B0B448BF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b5f3cac-30e6-4343-8ff9-ef13b9759b0a"/>
    <ds:schemaRef ds:uri="d72f38c8-9d45-418d-92dd-8a67773138d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8078</TotalTime>
  <Words>914</Words>
  <Application>Microsoft Office PowerPoint</Application>
  <PresentationFormat>On-screen Show (4:3)</PresentationFormat>
  <Paragraphs>75</Paragraphs>
  <Slides>16</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3" baseType="lpstr">
      <vt:lpstr>Arial</vt:lpstr>
      <vt:lpstr>Arial (null)</vt:lpstr>
      <vt:lpstr>Arial Black</vt:lpstr>
      <vt:lpstr>Arial Regular</vt:lpstr>
      <vt:lpstr>Calibri</vt:lpstr>
      <vt:lpstr>Theme1</vt:lpstr>
      <vt:lpstr>think-cell Slide</vt:lpstr>
      <vt:lpstr>PowerPoint Presentation</vt:lpstr>
      <vt:lpstr>Purpose</vt:lpstr>
      <vt:lpstr>PowerPoint Presentation</vt:lpstr>
      <vt:lpstr>Risk Definition</vt:lpstr>
      <vt:lpstr>Risk Appetite Statement</vt:lpstr>
      <vt:lpstr>Control / Mitigation Activity</vt:lpstr>
      <vt:lpstr>Monitoring Activity / Key Risk Indicator (KRI)</vt:lpstr>
      <vt:lpstr>Tolerance Level</vt:lpstr>
      <vt:lpstr>Tolerance Level (Continued)</vt:lpstr>
      <vt:lpstr>Risk Informed Decision Making</vt:lpstr>
      <vt:lpstr>PowerPoint Presentation</vt:lpstr>
      <vt:lpstr>Review the Enterprise Risk Management Documents</vt:lpstr>
      <vt:lpstr>How do I apply this in my area?</vt:lpstr>
      <vt:lpstr>PowerPoint Presentation</vt:lpstr>
      <vt:lpstr>Risk Template</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Becky Ofarrell</dc:creator>
  <cp:keywords/>
  <dc:description/>
  <cp:lastModifiedBy>Kristina Keller</cp:lastModifiedBy>
  <cp:revision>2084</cp:revision>
  <cp:lastPrinted>2020-04-27T17:01:28Z</cp:lastPrinted>
  <dcterms:created xsi:type="dcterms:W3CDTF">2018-06-27T11:54:50Z</dcterms:created>
  <dcterms:modified xsi:type="dcterms:W3CDTF">2022-06-06T16:39:4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F0DCEEBC8A1F241BEE6AB5FEF9836C7</vt:lpwstr>
  </property>
  <property fmtid="{D5CDD505-2E9C-101B-9397-08002B2CF9AE}" pid="3" name="MediaServiceImageTags">
    <vt:lpwstr/>
  </property>
</Properties>
</file>